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</p:sldMasterIdLst>
  <p:notesMasterIdLst>
    <p:notesMasterId r:id="rId11"/>
  </p:notesMasterIdLst>
  <p:sldIdLst>
    <p:sldId id="10616" r:id="rId6"/>
    <p:sldId id="8838" r:id="rId7"/>
    <p:sldId id="8832" r:id="rId8"/>
    <p:sldId id="8821" r:id="rId9"/>
    <p:sldId id="882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67" autoAdjust="0"/>
    <p:restoredTop sz="94660"/>
  </p:normalViewPr>
  <p:slideViewPr>
    <p:cSldViewPr snapToGrid="0">
      <p:cViewPr varScale="1">
        <p:scale>
          <a:sx n="96" d="100"/>
          <a:sy n="96" d="100"/>
        </p:scale>
        <p:origin x="2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dyumna Harish" userId="2089b547e30763c7" providerId="LiveId" clId="{569FA75E-C231-4CB8-B5A9-F55BB7E2313A}"/>
    <pc:docChg chg="modSld">
      <pc:chgData name="Pradyumna Harish" userId="2089b547e30763c7" providerId="LiveId" clId="{569FA75E-C231-4CB8-B5A9-F55BB7E2313A}" dt="2020-06-02T14:17:02.509" v="41"/>
      <pc:docMkLst>
        <pc:docMk/>
      </pc:docMkLst>
      <pc:sldChg chg="modNotesTx">
        <pc:chgData name="Pradyumna Harish" userId="2089b547e30763c7" providerId="LiveId" clId="{569FA75E-C231-4CB8-B5A9-F55BB7E2313A}" dt="2020-06-02T14:17:00.145" v="40"/>
        <pc:sldMkLst>
          <pc:docMk/>
          <pc:sldMk cId="2571460519" sldId="8821"/>
        </pc:sldMkLst>
      </pc:sldChg>
      <pc:sldChg chg="modNotesTx">
        <pc:chgData name="Pradyumna Harish" userId="2089b547e30763c7" providerId="LiveId" clId="{569FA75E-C231-4CB8-B5A9-F55BB7E2313A}" dt="2020-06-02T14:17:02.509" v="41"/>
        <pc:sldMkLst>
          <pc:docMk/>
          <pc:sldMk cId="170854428" sldId="8824"/>
        </pc:sldMkLst>
      </pc:sldChg>
      <pc:sldChg chg="modNotesTx">
        <pc:chgData name="Pradyumna Harish" userId="2089b547e30763c7" providerId="LiveId" clId="{569FA75E-C231-4CB8-B5A9-F55BB7E2313A}" dt="2020-06-02T14:16:57.539" v="39"/>
        <pc:sldMkLst>
          <pc:docMk/>
          <pc:sldMk cId="2492270569" sldId="8832"/>
        </pc:sldMkLst>
      </pc:sldChg>
      <pc:sldChg chg="modNotesTx">
        <pc:chgData name="Pradyumna Harish" userId="2089b547e30763c7" providerId="LiveId" clId="{569FA75E-C231-4CB8-B5A9-F55BB7E2313A}" dt="2020-06-02T14:16:54.569" v="38"/>
        <pc:sldMkLst>
          <pc:docMk/>
          <pc:sldMk cId="2486874875" sldId="8838"/>
        </pc:sldMkLst>
      </pc:sldChg>
      <pc:sldChg chg="modNotesTx">
        <pc:chgData name="Pradyumna Harish" userId="2089b547e30763c7" providerId="LiveId" clId="{569FA75E-C231-4CB8-B5A9-F55BB7E2313A}" dt="2020-06-02T14:16:47.002" v="37"/>
        <pc:sldMkLst>
          <pc:docMk/>
          <pc:sldMk cId="554990908" sldId="1061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74E03-36EE-4581-9B5C-38393873A72C}" type="datetimeFigureOut">
              <a:rPr lang="en-US" smtClean="0"/>
              <a:t>6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1CF406-3BB5-4B20-91AD-61F8BEC87E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068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radyumnaharish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radyumnaharish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radyumnaharish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radyumnaharish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radyumnaharish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hor: Pradyumna Harish</a:t>
            </a:r>
          </a:p>
          <a:p>
            <a:r>
              <a:rPr lang="en-US" dirty="0">
                <a:hlinkClick r:id="rId3"/>
              </a:rPr>
              <a:t>https://www.linkedin.com/in/pradyumnaharish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1CF406-3BB5-4B20-91AD-61F8BEC87E1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0409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hor: Pradyumna Harish</a:t>
            </a:r>
          </a:p>
          <a:p>
            <a:r>
              <a:rPr lang="en-US" dirty="0">
                <a:hlinkClick r:id="rId3"/>
              </a:rPr>
              <a:t>https://www.linkedin.com/in/pradyumnaharish/</a:t>
            </a:r>
            <a:endParaRPr lang="en-US" dirty="0"/>
          </a:p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/2020 7:13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1844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hor: Pradyumna Harish</a:t>
            </a:r>
          </a:p>
          <a:p>
            <a:r>
              <a:rPr lang="en-US" dirty="0">
                <a:hlinkClick r:id="rId3"/>
              </a:rPr>
              <a:t>https://www.linkedin.com/in/pradyumnaharish/</a:t>
            </a:r>
            <a:endParaRPr lang="en-US" dirty="0"/>
          </a:p>
          <a:p>
            <a:endParaRPr lang="en-IN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1/2020 10:53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354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hor: Pradyumna Harish</a:t>
            </a:r>
          </a:p>
          <a:p>
            <a:r>
              <a:rPr lang="en-US" dirty="0">
                <a:hlinkClick r:id="rId3"/>
              </a:rPr>
              <a:t>https://www.linkedin.com/in/pradyumnaharish/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1CF406-3BB5-4B20-91AD-61F8BEC87E1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thor: Pradyumna Harish</a:t>
            </a:r>
          </a:p>
          <a:p>
            <a:r>
              <a:rPr lang="en-US" dirty="0">
                <a:hlinkClick r:id="rId3"/>
              </a:rPr>
              <a:t>https://www.linkedin.com/in/pradyumnaharish/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1CF406-3BB5-4B20-91AD-61F8BEC87E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979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hyperlink" Target="mailto:%20pradyh@microsoft.com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hyperlink" Target="mailto:%20pradyh@microsoft.com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mailto:%20pradyh@microsoft.com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2E6E68-99E4-462F-89B9-CC5AE32570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83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2E6E68-99E4-462F-89B9-CC5AE3257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416BF0A-0083-4EB2-87E2-BBC9DCE9ADA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36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D6A320-E44A-41EF-BCB0-3DE7C7FEFA75}"/>
              </a:ext>
            </a:extLst>
          </p:cNvPr>
          <p:cNvSpPr txBox="1"/>
          <p:nvPr userDrawn="1"/>
        </p:nvSpPr>
        <p:spPr>
          <a:xfrm>
            <a:off x="11241419" y="6737578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 kern="1200">
              <a:solidFill>
                <a:schemeClr val="bg1">
                  <a:lumMod val="9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516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11FDA78-8F2B-4555-9985-32A745380B83}"/>
              </a:ext>
            </a:extLst>
          </p:cNvPr>
          <p:cNvSpPr txBox="1"/>
          <p:nvPr userDrawn="1"/>
        </p:nvSpPr>
        <p:spPr>
          <a:xfrm>
            <a:off x="11241419" y="6737578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700">
                <a:solidFill>
                  <a:schemeClr val="bg1">
                    <a:lumMod val="9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66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342A44-87D2-4229-AB98-12F3583C1681}"/>
              </a:ext>
            </a:extLst>
          </p:cNvPr>
          <p:cNvSpPr txBox="1"/>
          <p:nvPr userDrawn="1"/>
        </p:nvSpPr>
        <p:spPr>
          <a:xfrm>
            <a:off x="11241419" y="6737578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 kern="1200">
              <a:solidFill>
                <a:schemeClr val="bg1">
                  <a:lumMod val="9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17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%20pradyh@microsoft.com" TargetMode="Externa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mailto:%20pradyh@microsoft.com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3451AB-6898-44B3-920F-6BF960CAEC1B}"/>
              </a:ext>
            </a:extLst>
          </p:cNvPr>
          <p:cNvSpPr txBox="1"/>
          <p:nvPr userDrawn="1"/>
        </p:nvSpPr>
        <p:spPr>
          <a:xfrm>
            <a:off x="11241419" y="6737578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 kern="1200">
              <a:solidFill>
                <a:schemeClr val="bg1">
                  <a:lumMod val="9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29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4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C76F61-DA60-487E-B784-DFDA78903A5C}"/>
              </a:ext>
            </a:extLst>
          </p:cNvPr>
          <p:cNvSpPr txBox="1"/>
          <p:nvPr userDrawn="1"/>
        </p:nvSpPr>
        <p:spPr>
          <a:xfrm>
            <a:off x="11241419" y="6737578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 kern="1200">
              <a:solidFill>
                <a:schemeClr val="bg1">
                  <a:lumMod val="9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6451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556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1pPr>
      <a:lvl2pPr marL="457112" marR="0" indent="-22855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099" marR="0" indent="-199986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801" marR="0" indent="-180940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741" marR="0" indent="-168243" algn="l" defTabSz="93256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7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1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2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64.svg"/><Relationship Id="rId299" Type="http://schemas.openxmlformats.org/officeDocument/2006/relationships/hyperlink" Target="https://docs.microsoft.com/en-us/azure/cognitive-services/anomaly-detector/" TargetMode="External"/><Relationship Id="rId21" Type="http://schemas.openxmlformats.org/officeDocument/2006/relationships/image" Target="../media/image10.png"/><Relationship Id="rId63" Type="http://schemas.openxmlformats.org/officeDocument/2006/relationships/image" Target="../media/image37.svg"/><Relationship Id="rId159" Type="http://schemas.openxmlformats.org/officeDocument/2006/relationships/image" Target="../media/image96.png"/><Relationship Id="rId324" Type="http://schemas.openxmlformats.org/officeDocument/2006/relationships/image" Target="../media/image176.png"/><Relationship Id="rId366" Type="http://schemas.openxmlformats.org/officeDocument/2006/relationships/image" Target="../media/image209.png"/><Relationship Id="rId170" Type="http://schemas.openxmlformats.org/officeDocument/2006/relationships/hyperlink" Target="https://docs.microsoft.com/en-us/azure/stream-analytics/" TargetMode="External"/><Relationship Id="rId226" Type="http://schemas.openxmlformats.org/officeDocument/2006/relationships/hyperlink" Target="https://docs.microsoft.com/en-in/azure/service-bus/" TargetMode="External"/><Relationship Id="rId433" Type="http://schemas.openxmlformats.org/officeDocument/2006/relationships/image" Target="../media/image249.png"/><Relationship Id="rId268" Type="http://schemas.openxmlformats.org/officeDocument/2006/relationships/image" Target="../media/image135.png"/><Relationship Id="rId32" Type="http://schemas.openxmlformats.org/officeDocument/2006/relationships/hyperlink" Target="https://docs.microsoft.com/en-in/azure/container-instances/" TargetMode="External"/><Relationship Id="rId74" Type="http://schemas.openxmlformats.org/officeDocument/2006/relationships/hyperlink" Target="https://docs.microsoft.com/en-in/azure/expressroute/" TargetMode="External"/><Relationship Id="rId128" Type="http://schemas.openxmlformats.org/officeDocument/2006/relationships/hyperlink" Target="https://docs.microsoft.com/en-in/appcenter/" TargetMode="External"/><Relationship Id="rId335" Type="http://schemas.openxmlformats.org/officeDocument/2006/relationships/image" Target="../media/image187.png"/><Relationship Id="rId377" Type="http://schemas.openxmlformats.org/officeDocument/2006/relationships/image" Target="../media/image216.png"/><Relationship Id="rId5" Type="http://schemas.openxmlformats.org/officeDocument/2006/relationships/oleObject" Target="../embeddings/oleObject2.bin"/><Relationship Id="rId181" Type="http://schemas.openxmlformats.org/officeDocument/2006/relationships/hyperlink" Target="https://docs.microsoft.com/en-us/azure/open-datasets/" TargetMode="External"/><Relationship Id="rId237" Type="http://schemas.openxmlformats.org/officeDocument/2006/relationships/image" Target="../media/image105.png"/><Relationship Id="rId402" Type="http://schemas.openxmlformats.org/officeDocument/2006/relationships/image" Target="../media/image232.png"/><Relationship Id="rId279" Type="http://schemas.openxmlformats.org/officeDocument/2006/relationships/image" Target="../media/image146.emf"/><Relationship Id="rId444" Type="http://schemas.openxmlformats.org/officeDocument/2006/relationships/hyperlink" Target="https://docs.microsoft.com/en-in/azure/virtual-wan/" TargetMode="External"/><Relationship Id="rId43" Type="http://schemas.openxmlformats.org/officeDocument/2006/relationships/hyperlink" Target="https://docs.microsoft.com/en-in/azure/network-watcher/" TargetMode="External"/><Relationship Id="rId139" Type="http://schemas.openxmlformats.org/officeDocument/2006/relationships/image" Target="../media/image76.png"/><Relationship Id="rId290" Type="http://schemas.openxmlformats.org/officeDocument/2006/relationships/image" Target="../media/image156.png"/><Relationship Id="rId304" Type="http://schemas.openxmlformats.org/officeDocument/2006/relationships/image" Target="../media/image163.png"/><Relationship Id="rId346" Type="http://schemas.openxmlformats.org/officeDocument/2006/relationships/hyperlink" Target="https://docs.microsoft.com/en-in/azure/iot-fundamentals" TargetMode="External"/><Relationship Id="rId388" Type="http://schemas.openxmlformats.org/officeDocument/2006/relationships/image" Target="../media/image221.png"/><Relationship Id="rId85" Type="http://schemas.openxmlformats.org/officeDocument/2006/relationships/hyperlink" Target="https://docs.microsoft.com/en-in/azure/data-lake-store/" TargetMode="External"/><Relationship Id="rId150" Type="http://schemas.openxmlformats.org/officeDocument/2006/relationships/image" Target="../media/image87.svg"/><Relationship Id="rId192" Type="http://schemas.openxmlformats.org/officeDocument/2006/relationships/hyperlink" Target="https://docs.microsoft.com/en-us/azure/vpn-gateway/" TargetMode="External"/><Relationship Id="rId206" Type="http://schemas.openxmlformats.org/officeDocument/2006/relationships/hyperlink" Target="https://docs.microsoft.com/en-us/xamarin/xamarin-forms/data-cloud/azure-cognitive-services/emotion-recognition" TargetMode="External"/><Relationship Id="rId413" Type="http://schemas.openxmlformats.org/officeDocument/2006/relationships/image" Target="../media/image239.png"/><Relationship Id="rId248" Type="http://schemas.openxmlformats.org/officeDocument/2006/relationships/image" Target="../media/image115.png"/><Relationship Id="rId12" Type="http://schemas.openxmlformats.org/officeDocument/2006/relationships/image" Target="../media/image4.png"/><Relationship Id="rId108" Type="http://schemas.openxmlformats.org/officeDocument/2006/relationships/image" Target="../media/image55.png"/><Relationship Id="rId315" Type="http://schemas.openxmlformats.org/officeDocument/2006/relationships/hyperlink" Target="https://docs.microsoft.com/en-us/azure/cognitive-services/bing-entities-search/overview" TargetMode="External"/><Relationship Id="rId357" Type="http://schemas.openxmlformats.org/officeDocument/2006/relationships/hyperlink" Target="https://docs.microsoft.com/en-in/azure/iot-dps/" TargetMode="External"/><Relationship Id="rId54" Type="http://schemas.openxmlformats.org/officeDocument/2006/relationships/image" Target="../media/image31.svg"/><Relationship Id="rId96" Type="http://schemas.openxmlformats.org/officeDocument/2006/relationships/hyperlink" Target="https://docs.microsoft.com/en-in/azure/app-service-api/" TargetMode="External"/><Relationship Id="rId161" Type="http://schemas.openxmlformats.org/officeDocument/2006/relationships/image" Target="../media/image98.png"/><Relationship Id="rId217" Type="http://schemas.openxmlformats.org/officeDocument/2006/relationships/hyperlink" Target="https://support.hockeyapp.net/kb" TargetMode="External"/><Relationship Id="rId399" Type="http://schemas.openxmlformats.org/officeDocument/2006/relationships/image" Target="../media/image229.png"/><Relationship Id="rId259" Type="http://schemas.openxmlformats.org/officeDocument/2006/relationships/image" Target="../media/image126.png"/><Relationship Id="rId424" Type="http://schemas.openxmlformats.org/officeDocument/2006/relationships/hyperlink" Target="https://docs.microsoft.com/en-in/azure/peering-service/" TargetMode="External"/><Relationship Id="rId23" Type="http://schemas.openxmlformats.org/officeDocument/2006/relationships/hyperlink" Target="https://docs.microsoft.com/en-us/azure/vmware-cloudsimple/cloudsimple-vmware-solutions-overview" TargetMode="External"/><Relationship Id="rId119" Type="http://schemas.openxmlformats.org/officeDocument/2006/relationships/image" Target="../media/image66.svg"/><Relationship Id="rId270" Type="http://schemas.openxmlformats.org/officeDocument/2006/relationships/image" Target="../media/image137.png"/><Relationship Id="rId326" Type="http://schemas.openxmlformats.org/officeDocument/2006/relationships/image" Target="../media/image178.png"/><Relationship Id="rId65" Type="http://schemas.openxmlformats.org/officeDocument/2006/relationships/image" Target="../media/image38.png"/><Relationship Id="rId130" Type="http://schemas.openxmlformats.org/officeDocument/2006/relationships/hyperlink" Target="https://azure.microsoft.com/features/xamarin" TargetMode="External"/><Relationship Id="rId368" Type="http://schemas.openxmlformats.org/officeDocument/2006/relationships/hyperlink" Target="https://docs.microsoft.com/en-in/azure/machine-learning/service" TargetMode="External"/><Relationship Id="rId172" Type="http://schemas.openxmlformats.org/officeDocument/2006/relationships/hyperlink" Target="https://docs.microsoft.com/en-us/azure/analysis-services/" TargetMode="External"/><Relationship Id="rId228" Type="http://schemas.openxmlformats.org/officeDocument/2006/relationships/hyperlink" Target="https://docs.microsoft.com/en-in/azure/event-grid/" TargetMode="External"/><Relationship Id="rId435" Type="http://schemas.openxmlformats.org/officeDocument/2006/relationships/hyperlink" Target="https://docs.microsoft.com/en-in/azure/virtual-desktop/" TargetMode="External"/><Relationship Id="rId281" Type="http://schemas.openxmlformats.org/officeDocument/2006/relationships/image" Target="../media/image148.svg"/><Relationship Id="rId337" Type="http://schemas.openxmlformats.org/officeDocument/2006/relationships/image" Target="../media/image189.png"/><Relationship Id="rId34" Type="http://schemas.openxmlformats.org/officeDocument/2006/relationships/image" Target="../media/image19.svg"/><Relationship Id="rId76" Type="http://schemas.openxmlformats.org/officeDocument/2006/relationships/hyperlink" Target="https://docs.microsoft.com/en-in/azure/storage/" TargetMode="External"/><Relationship Id="rId141" Type="http://schemas.openxmlformats.org/officeDocument/2006/relationships/image" Target="../media/image78.png"/><Relationship Id="rId379" Type="http://schemas.openxmlformats.org/officeDocument/2006/relationships/hyperlink" Target="https://docs.microsoft.com/en-us/azure/advisor/" TargetMode="External"/><Relationship Id="rId7" Type="http://schemas.openxmlformats.org/officeDocument/2006/relationships/hyperlink" Target="https://docs.microsoft.com/en-in/azure/virtual-machines/linux/" TargetMode="External"/><Relationship Id="rId183" Type="http://schemas.openxmlformats.org/officeDocument/2006/relationships/hyperlink" Target="https://docs.microsoft.com/en-us/azure/security-center/" TargetMode="External"/><Relationship Id="rId239" Type="http://schemas.openxmlformats.org/officeDocument/2006/relationships/image" Target="../media/image107.png"/><Relationship Id="rId390" Type="http://schemas.openxmlformats.org/officeDocument/2006/relationships/image" Target="../media/image222.png"/><Relationship Id="rId404" Type="http://schemas.openxmlformats.org/officeDocument/2006/relationships/hyperlink" Target="https://docs.microsoft.com/en-in/azure/billing/" TargetMode="External"/><Relationship Id="rId446" Type="http://schemas.openxmlformats.org/officeDocument/2006/relationships/image" Target="../media/image255.png"/><Relationship Id="rId250" Type="http://schemas.openxmlformats.org/officeDocument/2006/relationships/image" Target="../media/image117.png"/><Relationship Id="rId292" Type="http://schemas.openxmlformats.org/officeDocument/2006/relationships/image" Target="../media/image157.png"/><Relationship Id="rId306" Type="http://schemas.openxmlformats.org/officeDocument/2006/relationships/image" Target="../media/image164.png"/><Relationship Id="rId45" Type="http://schemas.openxmlformats.org/officeDocument/2006/relationships/image" Target="../media/image25.svg"/><Relationship Id="rId87" Type="http://schemas.openxmlformats.org/officeDocument/2006/relationships/hyperlink" Target="https://docs.microsoft.com/en-in/azure/avere-vfxt/" TargetMode="External"/><Relationship Id="rId110" Type="http://schemas.openxmlformats.org/officeDocument/2006/relationships/image" Target="../media/image57.png"/><Relationship Id="rId348" Type="http://schemas.openxmlformats.org/officeDocument/2006/relationships/hyperlink" Target="https://docs.microsoft.com/en-in/azure/iot-hub/" TargetMode="External"/><Relationship Id="rId152" Type="http://schemas.openxmlformats.org/officeDocument/2006/relationships/image" Target="../media/image89.svg"/><Relationship Id="rId194" Type="http://schemas.openxmlformats.org/officeDocument/2006/relationships/hyperlink" Target="https://docs.microsoft.com/en-us/azure/sentinel/" TargetMode="External"/><Relationship Id="rId208" Type="http://schemas.openxmlformats.org/officeDocument/2006/relationships/hyperlink" Target="https://docs.microsoft.com/en-us/azure/media-services/video-indexer/" TargetMode="External"/><Relationship Id="rId415" Type="http://schemas.openxmlformats.org/officeDocument/2006/relationships/image" Target="../media/image240.png"/><Relationship Id="rId261" Type="http://schemas.openxmlformats.org/officeDocument/2006/relationships/image" Target="../media/image128.png"/><Relationship Id="rId14" Type="http://schemas.openxmlformats.org/officeDocument/2006/relationships/hyperlink" Target="https://docs.microsoft.com/en-in/azure/cloud-services/" TargetMode="External"/><Relationship Id="rId56" Type="http://schemas.openxmlformats.org/officeDocument/2006/relationships/image" Target="../media/image32.png"/><Relationship Id="rId317" Type="http://schemas.openxmlformats.org/officeDocument/2006/relationships/hyperlink" Target="https://docs.microsoft.com/en-us/azure/cognitive-services/bing-image-search/overview" TargetMode="External"/><Relationship Id="rId359" Type="http://schemas.openxmlformats.org/officeDocument/2006/relationships/hyperlink" Target="https://docs.microsoft.com/en-in/azure/time-series-insights/" TargetMode="External"/><Relationship Id="rId98" Type="http://schemas.openxmlformats.org/officeDocument/2006/relationships/image" Target="../media/image45.png"/><Relationship Id="rId121" Type="http://schemas.openxmlformats.org/officeDocument/2006/relationships/image" Target="../media/image68.svg"/><Relationship Id="rId163" Type="http://schemas.openxmlformats.org/officeDocument/2006/relationships/image" Target="../media/image100.png"/><Relationship Id="rId219" Type="http://schemas.openxmlformats.org/officeDocument/2006/relationships/hyperlink" Target="https://docs.microsoft.com/en-in/azure/cli" TargetMode="External"/><Relationship Id="rId370" Type="http://schemas.openxmlformats.org/officeDocument/2006/relationships/image" Target="../media/image210.png"/><Relationship Id="rId426" Type="http://schemas.openxmlformats.org/officeDocument/2006/relationships/hyperlink" Target="https://docs.microsoft.com/en-in/azure/firewall-manager/" TargetMode="External"/><Relationship Id="rId230" Type="http://schemas.openxmlformats.org/officeDocument/2006/relationships/hyperlink" Target="https://docs.microsoft.com/en-in/azure/media-services/media-services-encode-asset" TargetMode="External"/><Relationship Id="rId25" Type="http://schemas.openxmlformats.org/officeDocument/2006/relationships/image" Target="../media/image13.svg"/><Relationship Id="rId67" Type="http://schemas.openxmlformats.org/officeDocument/2006/relationships/hyperlink" Target="https://docs.microsoft.com/en-in/azure/vpn-gateway/" TargetMode="External"/><Relationship Id="rId272" Type="http://schemas.openxmlformats.org/officeDocument/2006/relationships/image" Target="../media/image139.png"/><Relationship Id="rId328" Type="http://schemas.openxmlformats.org/officeDocument/2006/relationships/image" Target="../media/image180.png"/><Relationship Id="rId132" Type="http://schemas.openxmlformats.org/officeDocument/2006/relationships/hyperlink" Target="https://docs.microsoft.com/en-in/azure/postgresql/" TargetMode="External"/><Relationship Id="rId174" Type="http://schemas.openxmlformats.org/officeDocument/2006/relationships/hyperlink" Target="https://docs.microsoft.com/en-us/power-bi/developer/embedded/azure-pbie-what-is-power-bi-embedded" TargetMode="External"/><Relationship Id="rId381" Type="http://schemas.openxmlformats.org/officeDocument/2006/relationships/hyperlink" Target="https://docs.microsoft.com/en-in/azure/scheduler/" TargetMode="External"/><Relationship Id="rId241" Type="http://schemas.openxmlformats.org/officeDocument/2006/relationships/image" Target="../media/image109.png"/><Relationship Id="rId437" Type="http://schemas.openxmlformats.org/officeDocument/2006/relationships/hyperlink" Target="https://docs.microsoft.com/en-us/azure/databox-online/data-box-edge-overview" TargetMode="External"/><Relationship Id="rId36" Type="http://schemas.openxmlformats.org/officeDocument/2006/relationships/image" Target="../media/image20.png"/><Relationship Id="rId283" Type="http://schemas.openxmlformats.org/officeDocument/2006/relationships/image" Target="../media/image150.svg"/><Relationship Id="rId339" Type="http://schemas.openxmlformats.org/officeDocument/2006/relationships/image" Target="../media/image191.png"/><Relationship Id="rId78" Type="http://schemas.openxmlformats.org/officeDocument/2006/relationships/hyperlink" Target="https://docs.microsoft.com/en-in/azure/storage/blobs/storage-blobs-introduction" TargetMode="External"/><Relationship Id="rId101" Type="http://schemas.openxmlformats.org/officeDocument/2006/relationships/image" Target="../media/image48.svg"/><Relationship Id="rId143" Type="http://schemas.openxmlformats.org/officeDocument/2006/relationships/image" Target="../media/image80.png"/><Relationship Id="rId185" Type="http://schemas.openxmlformats.org/officeDocument/2006/relationships/hyperlink" Target="https://docs.microsoft.com/en-us/azure/dedicated-hsm/" TargetMode="External"/><Relationship Id="rId350" Type="http://schemas.openxmlformats.org/officeDocument/2006/relationships/image" Target="../media/image199.png"/><Relationship Id="rId406" Type="http://schemas.openxmlformats.org/officeDocument/2006/relationships/hyperlink" Target="https://docs.microsoft.com/en-in/azure-stack" TargetMode="External"/><Relationship Id="rId9" Type="http://schemas.openxmlformats.org/officeDocument/2006/relationships/image" Target="../media/image3.svg"/><Relationship Id="rId210" Type="http://schemas.openxmlformats.org/officeDocument/2006/relationships/hyperlink" Target="https://docs.microsoft.com/bs-latn-ba/azure/cognitive-services/speech-service/" TargetMode="External"/><Relationship Id="rId392" Type="http://schemas.openxmlformats.org/officeDocument/2006/relationships/image" Target="../media/image223.png"/><Relationship Id="rId448" Type="http://schemas.openxmlformats.org/officeDocument/2006/relationships/hyperlink" Target="https://docs.microsoft.com/en-us/azure/cognitive-services/form-recognizer/" TargetMode="External"/><Relationship Id="rId252" Type="http://schemas.openxmlformats.org/officeDocument/2006/relationships/image" Target="../media/image119.png"/><Relationship Id="rId294" Type="http://schemas.openxmlformats.org/officeDocument/2006/relationships/image" Target="../media/image158.png"/><Relationship Id="rId308" Type="http://schemas.openxmlformats.org/officeDocument/2006/relationships/image" Target="../media/image165.png"/><Relationship Id="rId47" Type="http://schemas.openxmlformats.org/officeDocument/2006/relationships/image" Target="../media/image26.png"/><Relationship Id="rId89" Type="http://schemas.openxmlformats.org/officeDocument/2006/relationships/hyperlink" Target="https://docs.microsoft.com/en-in/azure/storage/blobs/storage-blob-storage-tiers" TargetMode="External"/><Relationship Id="rId112" Type="http://schemas.openxmlformats.org/officeDocument/2006/relationships/image" Target="../media/image59.svg"/><Relationship Id="rId154" Type="http://schemas.openxmlformats.org/officeDocument/2006/relationships/image" Target="../media/image91.svg"/><Relationship Id="rId361" Type="http://schemas.openxmlformats.org/officeDocument/2006/relationships/image" Target="../media/image205.svg"/><Relationship Id="rId196" Type="http://schemas.openxmlformats.org/officeDocument/2006/relationships/hyperlink" Target="https://docs.microsoft.com/en-us/azure/machine-learning/" TargetMode="External"/><Relationship Id="rId417" Type="http://schemas.openxmlformats.org/officeDocument/2006/relationships/image" Target="../media/image241.png"/><Relationship Id="rId16" Type="http://schemas.openxmlformats.org/officeDocument/2006/relationships/image" Target="../media/image7.svg"/><Relationship Id="rId221" Type="http://schemas.openxmlformats.org/officeDocument/2006/relationships/hyperlink" Target="https://docs.microsoft.com/en-in/azure/multi-factor-authentication/" TargetMode="External"/><Relationship Id="rId263" Type="http://schemas.openxmlformats.org/officeDocument/2006/relationships/image" Target="../media/image130.png"/><Relationship Id="rId319" Type="http://schemas.openxmlformats.org/officeDocument/2006/relationships/image" Target="../media/image171.png"/><Relationship Id="rId58" Type="http://schemas.openxmlformats.org/officeDocument/2006/relationships/hyperlink" Target="https://docs.microsoft.com/en-in/azure/frontdoor/" TargetMode="External"/><Relationship Id="rId123" Type="http://schemas.openxmlformats.org/officeDocument/2006/relationships/image" Target="../media/image70.svg"/><Relationship Id="rId330" Type="http://schemas.openxmlformats.org/officeDocument/2006/relationships/image" Target="../media/image182.png"/><Relationship Id="rId165" Type="http://schemas.openxmlformats.org/officeDocument/2006/relationships/image" Target="../media/image102.png"/><Relationship Id="rId372" Type="http://schemas.openxmlformats.org/officeDocument/2006/relationships/image" Target="../media/image212.png"/><Relationship Id="rId428" Type="http://schemas.openxmlformats.org/officeDocument/2006/relationships/hyperlink" Target="https://docs.microsoft.com/en-in/azure/internet-analyzer/" TargetMode="External"/><Relationship Id="rId232" Type="http://schemas.openxmlformats.org/officeDocument/2006/relationships/hyperlink" Target="https://docs.microsoft.com/en-in/azure/media-services/media-services-playback-content-with-existing-players" TargetMode="External"/><Relationship Id="rId274" Type="http://schemas.openxmlformats.org/officeDocument/2006/relationships/image" Target="../media/image141.png"/><Relationship Id="rId27" Type="http://schemas.openxmlformats.org/officeDocument/2006/relationships/image" Target="../media/image14.png"/><Relationship Id="rId69" Type="http://schemas.openxmlformats.org/officeDocument/2006/relationships/image" Target="../media/image41.svg"/><Relationship Id="rId134" Type="http://schemas.openxmlformats.org/officeDocument/2006/relationships/hyperlink" Target="https://docs.microsoft.com/en-in/azure/cosmos-db/table-storage-overview" TargetMode="External"/><Relationship Id="rId80" Type="http://schemas.openxmlformats.org/officeDocument/2006/relationships/hyperlink" Target="https://docs.microsoft.com/en-in/azure/storage/files/storage-files-introduction/" TargetMode="External"/><Relationship Id="rId176" Type="http://schemas.openxmlformats.org/officeDocument/2006/relationships/hyperlink" Target="https://docs.microsoft.com/en-us/azure/hdinsight/spark/apache-spark-overview" TargetMode="External"/><Relationship Id="rId341" Type="http://schemas.openxmlformats.org/officeDocument/2006/relationships/image" Target="../media/image193.png"/><Relationship Id="rId383" Type="http://schemas.openxmlformats.org/officeDocument/2006/relationships/hyperlink" Target="https://docs.microsoft.com/en-in/azure/automation/" TargetMode="External"/><Relationship Id="rId439" Type="http://schemas.openxmlformats.org/officeDocument/2006/relationships/image" Target="../media/image252.png"/><Relationship Id="rId201" Type="http://schemas.openxmlformats.org/officeDocument/2006/relationships/hyperlink" Target="https://docs.microsoft.com/en-us/azure/notebooks/" TargetMode="External"/><Relationship Id="rId243" Type="http://schemas.openxmlformats.org/officeDocument/2006/relationships/hyperlink" Target="https://www.google.com/url?sa=i&amp;source=images&amp;cd=&amp;cad=rja&amp;uact=8&amp;ved=2ahUKEwiQ5aKCq7PbAhWLrFQKHQXYC-YQjRx6BAgBEAU&amp;url=https://azure.microsoft.com/en-us/services/analysis-services/&amp;psig=AOvVaw3ZUC3uvTZQp7oOxRqReF-E&amp;ust=1527972432002714" TargetMode="External"/><Relationship Id="rId285" Type="http://schemas.openxmlformats.org/officeDocument/2006/relationships/image" Target="../media/image152.png"/><Relationship Id="rId450" Type="http://schemas.openxmlformats.org/officeDocument/2006/relationships/hyperlink" Target="https://docs.microsoft.com/en-in/azure/cognitive-services/personalizer/" TargetMode="External"/><Relationship Id="rId38" Type="http://schemas.openxmlformats.org/officeDocument/2006/relationships/hyperlink" Target="https://docs.microsoft.com/en-in/azure/batch/" TargetMode="External"/><Relationship Id="rId103" Type="http://schemas.openxmlformats.org/officeDocument/2006/relationships/image" Target="../media/image50.svg"/><Relationship Id="rId310" Type="http://schemas.openxmlformats.org/officeDocument/2006/relationships/image" Target="../media/image166.png"/><Relationship Id="rId91" Type="http://schemas.openxmlformats.org/officeDocument/2006/relationships/hyperlink" Target="https://docs.microsoft.com/en-in/azure/app-service-web/" TargetMode="External"/><Relationship Id="rId145" Type="http://schemas.openxmlformats.org/officeDocument/2006/relationships/image" Target="../media/image82.png"/><Relationship Id="rId187" Type="http://schemas.openxmlformats.org/officeDocument/2006/relationships/hyperlink" Target="https://docs.microsoft.com/en-us/azure-advanced-threat-protection/" TargetMode="External"/><Relationship Id="rId352" Type="http://schemas.openxmlformats.org/officeDocument/2006/relationships/image" Target="../media/image200.png"/><Relationship Id="rId394" Type="http://schemas.openxmlformats.org/officeDocument/2006/relationships/image" Target="../media/image224.png"/><Relationship Id="rId408" Type="http://schemas.openxmlformats.org/officeDocument/2006/relationships/hyperlink" Target="https://docs.microsoft.com/en-us/azure-stack/user/?view=azs-1910" TargetMode="External"/><Relationship Id="rId212" Type="http://schemas.openxmlformats.org/officeDocument/2006/relationships/hyperlink" Target="https://docs.microsoft.com/en-us/learn/modules/recognize-voices-with-speaker-recognition/" TargetMode="External"/><Relationship Id="rId254" Type="http://schemas.openxmlformats.org/officeDocument/2006/relationships/image" Target="../media/image121.png"/><Relationship Id="rId49" Type="http://schemas.openxmlformats.org/officeDocument/2006/relationships/hyperlink" Target="https://docs.microsoft.com/en-in/azure/firewall/" TargetMode="External"/><Relationship Id="rId114" Type="http://schemas.openxmlformats.org/officeDocument/2006/relationships/image" Target="../media/image61.png"/><Relationship Id="rId296" Type="http://schemas.openxmlformats.org/officeDocument/2006/relationships/image" Target="../media/image159.png"/><Relationship Id="rId60" Type="http://schemas.openxmlformats.org/officeDocument/2006/relationships/image" Target="../media/image35.svg"/><Relationship Id="rId156" Type="http://schemas.openxmlformats.org/officeDocument/2006/relationships/image" Target="../media/image93.svg"/><Relationship Id="rId198" Type="http://schemas.openxmlformats.org/officeDocument/2006/relationships/hyperlink" Target="https://docs.microsoft.com/en-us/azure/cognitive-services/" TargetMode="External"/><Relationship Id="rId321" Type="http://schemas.openxmlformats.org/officeDocument/2006/relationships/image" Target="../media/image173.png"/><Relationship Id="rId363" Type="http://schemas.openxmlformats.org/officeDocument/2006/relationships/image" Target="../media/image207.png"/><Relationship Id="rId419" Type="http://schemas.openxmlformats.org/officeDocument/2006/relationships/image" Target="../media/image242.png"/><Relationship Id="rId223" Type="http://schemas.openxmlformats.org/officeDocument/2006/relationships/hyperlink" Target="https://docs.microsoft.com/en-in/azure/active-directory-domain-services" TargetMode="External"/><Relationship Id="rId430" Type="http://schemas.openxmlformats.org/officeDocument/2006/relationships/image" Target="../media/image247.png"/><Relationship Id="rId18" Type="http://schemas.openxmlformats.org/officeDocument/2006/relationships/image" Target="../media/image8.png"/><Relationship Id="rId265" Type="http://schemas.openxmlformats.org/officeDocument/2006/relationships/image" Target="../media/image132.png"/><Relationship Id="rId50" Type="http://schemas.openxmlformats.org/officeDocument/2006/relationships/image" Target="../media/image28.png"/><Relationship Id="rId104" Type="http://schemas.openxmlformats.org/officeDocument/2006/relationships/image" Target="../media/image51.png"/><Relationship Id="rId125" Type="http://schemas.openxmlformats.org/officeDocument/2006/relationships/image" Target="../media/image72.svg"/><Relationship Id="rId146" Type="http://schemas.openxmlformats.org/officeDocument/2006/relationships/image" Target="../media/image83.svg"/><Relationship Id="rId167" Type="http://schemas.openxmlformats.org/officeDocument/2006/relationships/hyperlink" Target="https://docs.microsoft.com/en-in/azure/data-factory/" TargetMode="External"/><Relationship Id="rId188" Type="http://schemas.openxmlformats.org/officeDocument/2006/relationships/hyperlink" Target="https://docs.microsoft.com/en-us/azure/information-protection/what-is-information-protection" TargetMode="External"/><Relationship Id="rId311" Type="http://schemas.openxmlformats.org/officeDocument/2006/relationships/hyperlink" Target="https://docs.microsoft.com/en-us/azure/cognitive-services/bing-autosuggest/get-suggested-search-terms" TargetMode="External"/><Relationship Id="rId332" Type="http://schemas.openxmlformats.org/officeDocument/2006/relationships/image" Target="../media/image184.png"/><Relationship Id="rId353" Type="http://schemas.openxmlformats.org/officeDocument/2006/relationships/hyperlink" Target="https://docs.microsoft.com/en-in/azure/iot-suite/" TargetMode="External"/><Relationship Id="rId374" Type="http://schemas.openxmlformats.org/officeDocument/2006/relationships/hyperlink" Target="https://docs.microsoft.com/en-us/azure-sphere/" TargetMode="External"/><Relationship Id="rId395" Type="http://schemas.openxmlformats.org/officeDocument/2006/relationships/image" Target="../media/image225.png"/><Relationship Id="rId409" Type="http://schemas.openxmlformats.org/officeDocument/2006/relationships/hyperlink" Target="https://docs.microsoft.com/en-us/azure-stack/asdk/?view=azs-1910" TargetMode="External"/><Relationship Id="rId71" Type="http://schemas.openxmlformats.org/officeDocument/2006/relationships/image" Target="../media/image42.png"/><Relationship Id="rId92" Type="http://schemas.openxmlformats.org/officeDocument/2006/relationships/hyperlink" Target="https://docs.microsoft.com/en-in/azure/api-management/" TargetMode="External"/><Relationship Id="rId213" Type="http://schemas.openxmlformats.org/officeDocument/2006/relationships/hyperlink" Target="https://docs.microsoft.com/en-us/azure/cognitive-services/speech-service/speech-translation" TargetMode="External"/><Relationship Id="rId234" Type="http://schemas.openxmlformats.org/officeDocument/2006/relationships/hyperlink" Target="https://docs.microsoft.com/en-in/azure/media-services/media-services-analytics-overview" TargetMode="External"/><Relationship Id="rId420" Type="http://schemas.openxmlformats.org/officeDocument/2006/relationships/hyperlink" Target="https://docs.microsoft.com/en-in/azure/web-application-firewall/" TargetMode="External"/><Relationship Id="rId2" Type="http://schemas.openxmlformats.org/officeDocument/2006/relationships/tags" Target="../tags/tag3.xml"/><Relationship Id="rId29" Type="http://schemas.openxmlformats.org/officeDocument/2006/relationships/hyperlink" Target="https://docs.microsoft.com/en-us/azure/app-service/" TargetMode="External"/><Relationship Id="rId255" Type="http://schemas.openxmlformats.org/officeDocument/2006/relationships/image" Target="../media/image122.png"/><Relationship Id="rId276" Type="http://schemas.openxmlformats.org/officeDocument/2006/relationships/image" Target="../media/image143.png"/><Relationship Id="rId297" Type="http://schemas.openxmlformats.org/officeDocument/2006/relationships/hyperlink" Target="https://docs.microsoft.com/en-us/azure/search/knowledge-store-concept-intro" TargetMode="External"/><Relationship Id="rId441" Type="http://schemas.openxmlformats.org/officeDocument/2006/relationships/image" Target="../media/image253.png"/><Relationship Id="rId40" Type="http://schemas.openxmlformats.org/officeDocument/2006/relationships/image" Target="../media/image23.svg"/><Relationship Id="rId115" Type="http://schemas.openxmlformats.org/officeDocument/2006/relationships/image" Target="../media/image62.svg"/><Relationship Id="rId136" Type="http://schemas.openxmlformats.org/officeDocument/2006/relationships/hyperlink" Target="https://docs.microsoft.com/en-in/azure/cosmos-db/" TargetMode="External"/><Relationship Id="rId157" Type="http://schemas.openxmlformats.org/officeDocument/2006/relationships/image" Target="../media/image94.png"/><Relationship Id="rId178" Type="http://schemas.openxmlformats.org/officeDocument/2006/relationships/hyperlink" Target="https://docs.microsoft.com/en-us/azure/hdinsight/r-server/r-server-overview" TargetMode="External"/><Relationship Id="rId301" Type="http://schemas.openxmlformats.org/officeDocument/2006/relationships/hyperlink" Target="https://www.microsoft.com/en-us/research/project/conversation-learner/" TargetMode="External"/><Relationship Id="rId322" Type="http://schemas.openxmlformats.org/officeDocument/2006/relationships/image" Target="../media/image174.png"/><Relationship Id="rId343" Type="http://schemas.openxmlformats.org/officeDocument/2006/relationships/image" Target="../media/image195.png"/><Relationship Id="rId364" Type="http://schemas.openxmlformats.org/officeDocument/2006/relationships/image" Target="../media/image208.emf"/><Relationship Id="rId61" Type="http://schemas.openxmlformats.org/officeDocument/2006/relationships/hyperlink" Target="https://docs.microsoft.com/en-in/azure/load-balancer/" TargetMode="External"/><Relationship Id="rId82" Type="http://schemas.openxmlformats.org/officeDocument/2006/relationships/hyperlink" Target="https://docs.microsoft.com/en-in/azure/storsimple/" TargetMode="External"/><Relationship Id="rId199" Type="http://schemas.openxmlformats.org/officeDocument/2006/relationships/hyperlink" Target="https://docs.microsoft.com/en-us/azure/machine-learning/studio/" TargetMode="External"/><Relationship Id="rId203" Type="http://schemas.openxmlformats.org/officeDocument/2006/relationships/hyperlink" Target="https://docs.microsoft.com/en-us/azure/cognitive-services/computer-vision/" TargetMode="External"/><Relationship Id="rId385" Type="http://schemas.openxmlformats.org/officeDocument/2006/relationships/hyperlink" Target="https://docs.microsoft.com/en-us/azure/traffic-manager/" TargetMode="External"/><Relationship Id="rId19" Type="http://schemas.openxmlformats.org/officeDocument/2006/relationships/image" Target="../media/image9.svg"/><Relationship Id="rId224" Type="http://schemas.openxmlformats.org/officeDocument/2006/relationships/hyperlink" Target="https://docs.microsoft.com/en-in/azure/active-directory-b2c" TargetMode="External"/><Relationship Id="rId245" Type="http://schemas.openxmlformats.org/officeDocument/2006/relationships/image" Target="../media/image112.png"/><Relationship Id="rId266" Type="http://schemas.openxmlformats.org/officeDocument/2006/relationships/image" Target="../media/image133.png"/><Relationship Id="rId287" Type="http://schemas.openxmlformats.org/officeDocument/2006/relationships/hyperlink" Target="https://docs.microsoft.com/en-in/azure/cognitive-services/qnamaker/home" TargetMode="External"/><Relationship Id="rId410" Type="http://schemas.openxmlformats.org/officeDocument/2006/relationships/image" Target="../media/image236.png"/><Relationship Id="rId431" Type="http://schemas.openxmlformats.org/officeDocument/2006/relationships/image" Target="../media/image248.png"/><Relationship Id="rId30" Type="http://schemas.openxmlformats.org/officeDocument/2006/relationships/image" Target="../media/image16.png"/><Relationship Id="rId105" Type="http://schemas.openxmlformats.org/officeDocument/2006/relationships/image" Target="../media/image52.svg"/><Relationship Id="rId126" Type="http://schemas.openxmlformats.org/officeDocument/2006/relationships/image" Target="../media/image73.emf"/><Relationship Id="rId147" Type="http://schemas.openxmlformats.org/officeDocument/2006/relationships/image" Target="../media/image84.png"/><Relationship Id="rId168" Type="http://schemas.openxmlformats.org/officeDocument/2006/relationships/hyperlink" Target="https://docs.microsoft.com/en-in/azure/azure-databricks/" TargetMode="External"/><Relationship Id="rId312" Type="http://schemas.openxmlformats.org/officeDocument/2006/relationships/image" Target="../media/image167.png"/><Relationship Id="rId333" Type="http://schemas.openxmlformats.org/officeDocument/2006/relationships/image" Target="../media/image185.png"/><Relationship Id="rId354" Type="http://schemas.openxmlformats.org/officeDocument/2006/relationships/image" Target="../media/image201.png"/><Relationship Id="rId51" Type="http://schemas.openxmlformats.org/officeDocument/2006/relationships/image" Target="../media/image29.svg"/><Relationship Id="rId72" Type="http://schemas.openxmlformats.org/officeDocument/2006/relationships/image" Target="../media/image43.svg"/><Relationship Id="rId93" Type="http://schemas.openxmlformats.org/officeDocument/2006/relationships/hyperlink" Target="https://docs.microsoft.com/en-in/azure/cdn/" TargetMode="External"/><Relationship Id="rId189" Type="http://schemas.openxmlformats.org/officeDocument/2006/relationships/hyperlink" Target="https://docs.microsoft.com/en-us/azure/active-directory/" TargetMode="External"/><Relationship Id="rId375" Type="http://schemas.openxmlformats.org/officeDocument/2006/relationships/image" Target="../media/image214.png"/><Relationship Id="rId396" Type="http://schemas.openxmlformats.org/officeDocument/2006/relationships/image" Target="../media/image226.png"/><Relationship Id="rId3" Type="http://schemas.openxmlformats.org/officeDocument/2006/relationships/slideLayout" Target="../slideLayouts/slideLayout3.xml"/><Relationship Id="rId214" Type="http://schemas.openxmlformats.org/officeDocument/2006/relationships/hyperlink" Target="https://docs.microsoft.com/bs-latn-ba/azure/cognitive-services/bing-spell-check/overview" TargetMode="External"/><Relationship Id="rId235" Type="http://schemas.openxmlformats.org/officeDocument/2006/relationships/hyperlink" Target="https://docs.microsoft.com/en-in/azure/cognitive-services/video-indexer/video-indexer-overview" TargetMode="External"/><Relationship Id="rId256" Type="http://schemas.openxmlformats.org/officeDocument/2006/relationships/image" Target="../media/image123.png"/><Relationship Id="rId277" Type="http://schemas.openxmlformats.org/officeDocument/2006/relationships/image" Target="../media/image144.png"/><Relationship Id="rId298" Type="http://schemas.openxmlformats.org/officeDocument/2006/relationships/image" Target="../media/image160.png"/><Relationship Id="rId400" Type="http://schemas.openxmlformats.org/officeDocument/2006/relationships/image" Target="../media/image230.png"/><Relationship Id="rId421" Type="http://schemas.openxmlformats.org/officeDocument/2006/relationships/image" Target="../media/image243.png"/><Relationship Id="rId442" Type="http://schemas.openxmlformats.org/officeDocument/2006/relationships/hyperlink" Target="https://docs.microsoft.com/en-in/azure/iot-pnp/" TargetMode="External"/><Relationship Id="rId116" Type="http://schemas.openxmlformats.org/officeDocument/2006/relationships/image" Target="../media/image63.png"/><Relationship Id="rId137" Type="http://schemas.openxmlformats.org/officeDocument/2006/relationships/image" Target="../media/image74.png"/><Relationship Id="rId158" Type="http://schemas.openxmlformats.org/officeDocument/2006/relationships/image" Target="../media/image95.svg"/><Relationship Id="rId302" Type="http://schemas.openxmlformats.org/officeDocument/2006/relationships/image" Target="../media/image162.png"/><Relationship Id="rId323" Type="http://schemas.openxmlformats.org/officeDocument/2006/relationships/image" Target="../media/image175.png"/><Relationship Id="rId344" Type="http://schemas.openxmlformats.org/officeDocument/2006/relationships/image" Target="../media/image196.png"/><Relationship Id="rId20" Type="http://schemas.openxmlformats.org/officeDocument/2006/relationships/hyperlink" Target="https://docs.microsoft.com/en-in/azure/cyclecloud/" TargetMode="External"/><Relationship Id="rId41" Type="http://schemas.openxmlformats.org/officeDocument/2006/relationships/hyperlink" Target="https://docs.microsoft.com/en-in/azure/virtual-machines/windows/sql/virtual-machines-windows-sql-server-iaas-overview?toc=%2Fazure%2Fvirtual-machines%2Fwindows%2Ftoc.json" TargetMode="External"/><Relationship Id="rId62" Type="http://schemas.openxmlformats.org/officeDocument/2006/relationships/image" Target="../media/image36.png"/><Relationship Id="rId83" Type="http://schemas.openxmlformats.org/officeDocument/2006/relationships/hyperlink" Target="https://docs.microsoft.com/en-in/azure/backup/" TargetMode="External"/><Relationship Id="rId179" Type="http://schemas.openxmlformats.org/officeDocument/2006/relationships/hyperlink" Target="https://docs.microsoft.com/en-us/azure/azure-monitor/log-query/get-started-portal" TargetMode="External"/><Relationship Id="rId365" Type="http://schemas.openxmlformats.org/officeDocument/2006/relationships/hyperlink" Target="https://docs.microsoft.com/en-in/azure/machine-learning/" TargetMode="External"/><Relationship Id="rId386" Type="http://schemas.openxmlformats.org/officeDocument/2006/relationships/image" Target="../media/image220.png"/><Relationship Id="rId190" Type="http://schemas.openxmlformats.org/officeDocument/2006/relationships/hyperlink" Target="https://docs.microsoft.com/en-us/azure/active-directory-domain-services/overview" TargetMode="External"/><Relationship Id="rId204" Type="http://schemas.openxmlformats.org/officeDocument/2006/relationships/hyperlink" Target="https://docs.microsoft.com/en-us/azure/cognitive-services/content-moderator/" TargetMode="External"/><Relationship Id="rId225" Type="http://schemas.openxmlformats.org/officeDocument/2006/relationships/hyperlink" Target="https://docs.microsoft.com/en-in/azure/security/" TargetMode="External"/><Relationship Id="rId246" Type="http://schemas.openxmlformats.org/officeDocument/2006/relationships/image" Target="../media/image113.png"/><Relationship Id="rId267" Type="http://schemas.openxmlformats.org/officeDocument/2006/relationships/image" Target="../media/image134.png"/><Relationship Id="rId288" Type="http://schemas.openxmlformats.org/officeDocument/2006/relationships/image" Target="../media/image154.png"/><Relationship Id="rId411" Type="http://schemas.openxmlformats.org/officeDocument/2006/relationships/image" Target="../media/image237.png"/><Relationship Id="rId432" Type="http://schemas.openxmlformats.org/officeDocument/2006/relationships/hyperlink" Target="https://docs.microsoft.com/en-in/azure/sql-database-edge/" TargetMode="External"/><Relationship Id="rId106" Type="http://schemas.openxmlformats.org/officeDocument/2006/relationships/image" Target="../media/image53.png"/><Relationship Id="rId127" Type="http://schemas.openxmlformats.org/officeDocument/2006/relationships/hyperlink" Target="https://docs.microsoft.com/en-in/azure/app-service-mobile/" TargetMode="External"/><Relationship Id="rId313" Type="http://schemas.openxmlformats.org/officeDocument/2006/relationships/hyperlink" Target="https://docs.microsoft.com/en-us/azure/cognitive-services/bing-custom-search/overview" TargetMode="External"/><Relationship Id="rId10" Type="http://schemas.openxmlformats.org/officeDocument/2006/relationships/hyperlink" Target="https://docs.microsoft.com/en-in/azure/virtual-machines/windows/" TargetMode="External"/><Relationship Id="rId31" Type="http://schemas.openxmlformats.org/officeDocument/2006/relationships/image" Target="../media/image17.svg"/><Relationship Id="rId52" Type="http://schemas.openxmlformats.org/officeDocument/2006/relationships/hyperlink" Target="https://docs.microsoft.com/en-in/azure/virtual-network/ddos-protection-overview" TargetMode="External"/><Relationship Id="rId73" Type="http://schemas.openxmlformats.org/officeDocument/2006/relationships/hyperlink" Target="https://docs.microsoft.com/en-in/azure/networking/networking-overview" TargetMode="External"/><Relationship Id="rId94" Type="http://schemas.openxmlformats.org/officeDocument/2006/relationships/hyperlink" Target="https://docs.microsoft.com/en-in/azure/notification-hubs/" TargetMode="External"/><Relationship Id="rId148" Type="http://schemas.openxmlformats.org/officeDocument/2006/relationships/image" Target="../media/image85.svg"/><Relationship Id="rId169" Type="http://schemas.openxmlformats.org/officeDocument/2006/relationships/hyperlink" Target="https://docs.microsoft.com/en-in/azure/hdinsight/" TargetMode="External"/><Relationship Id="rId334" Type="http://schemas.openxmlformats.org/officeDocument/2006/relationships/image" Target="../media/image186.png"/><Relationship Id="rId355" Type="http://schemas.openxmlformats.org/officeDocument/2006/relationships/hyperlink" Target="https://docs.microsoft.com/en-in/azure/digital-twins/" TargetMode="External"/><Relationship Id="rId376" Type="http://schemas.openxmlformats.org/officeDocument/2006/relationships/image" Target="../media/image215.png"/><Relationship Id="rId397" Type="http://schemas.openxmlformats.org/officeDocument/2006/relationships/image" Target="../media/image227.png"/><Relationship Id="rId4" Type="http://schemas.openxmlformats.org/officeDocument/2006/relationships/notesSlide" Target="../notesSlides/notesSlide1.xml"/><Relationship Id="rId180" Type="http://schemas.openxmlformats.org/officeDocument/2006/relationships/hyperlink" Target="https://docs.microsoft.com/en-us/azure/data-catalog/" TargetMode="External"/><Relationship Id="rId215" Type="http://schemas.openxmlformats.org/officeDocument/2006/relationships/hyperlink" Target="https://docs.microsoft.com/en-us/azure/cognitive-services/luis/" TargetMode="External"/><Relationship Id="rId236" Type="http://schemas.openxmlformats.org/officeDocument/2006/relationships/image" Target="../media/image104.png"/><Relationship Id="rId257" Type="http://schemas.openxmlformats.org/officeDocument/2006/relationships/image" Target="../media/image124.png"/><Relationship Id="rId278" Type="http://schemas.openxmlformats.org/officeDocument/2006/relationships/image" Target="../media/image145.png"/><Relationship Id="rId401" Type="http://schemas.openxmlformats.org/officeDocument/2006/relationships/image" Target="../media/image231.png"/><Relationship Id="rId422" Type="http://schemas.openxmlformats.org/officeDocument/2006/relationships/hyperlink" Target="https://go.microsoft.com/fwlink/?linkid=2097091" TargetMode="External"/><Relationship Id="rId443" Type="http://schemas.openxmlformats.org/officeDocument/2006/relationships/image" Target="../media/image254.png"/><Relationship Id="rId303" Type="http://schemas.openxmlformats.org/officeDocument/2006/relationships/hyperlink" Target="https://docs.microsoft.com/en-us/azure/cognitive-services/bing-news-search/search-the-web" TargetMode="External"/><Relationship Id="rId42" Type="http://schemas.openxmlformats.org/officeDocument/2006/relationships/hyperlink" Target="https://docs.microsoft.com/en-in/azure/virtual-machines/workloads/sap/hana-overview-architecture" TargetMode="External"/><Relationship Id="rId84" Type="http://schemas.openxmlformats.org/officeDocument/2006/relationships/hyperlink" Target="https://docs.microsoft.com/en-in/azure/storage/blobs/data-lake-storage-introduction" TargetMode="External"/><Relationship Id="rId138" Type="http://schemas.openxmlformats.org/officeDocument/2006/relationships/image" Target="../media/image75.svg"/><Relationship Id="rId345" Type="http://schemas.openxmlformats.org/officeDocument/2006/relationships/image" Target="../media/image197.png"/><Relationship Id="rId387" Type="http://schemas.openxmlformats.org/officeDocument/2006/relationships/hyperlink" Target="https://docs.microsoft.com/en-us/azure/azure-monitor/log-query/log-query-overview" TargetMode="External"/><Relationship Id="rId191" Type="http://schemas.openxmlformats.org/officeDocument/2006/relationships/hyperlink" Target="https://docs.microsoft.com/en-us/azure/application-gateway/" TargetMode="External"/><Relationship Id="rId205" Type="http://schemas.openxmlformats.org/officeDocument/2006/relationships/hyperlink" Target="https://docs.microsoft.com/en-us/azure/cognitive-services/custom-vision-service/" TargetMode="External"/><Relationship Id="rId247" Type="http://schemas.openxmlformats.org/officeDocument/2006/relationships/image" Target="../media/image114.png"/><Relationship Id="rId412" Type="http://schemas.openxmlformats.org/officeDocument/2006/relationships/image" Target="../media/image238.png"/><Relationship Id="rId107" Type="http://schemas.openxmlformats.org/officeDocument/2006/relationships/image" Target="../media/image54.svg"/><Relationship Id="rId289" Type="http://schemas.openxmlformats.org/officeDocument/2006/relationships/image" Target="../media/image155.png"/><Relationship Id="rId11" Type="http://schemas.openxmlformats.org/officeDocument/2006/relationships/hyperlink" Target="https://docs.microsoft.com/en-in/azure/service-fabric/" TargetMode="External"/><Relationship Id="rId53" Type="http://schemas.openxmlformats.org/officeDocument/2006/relationships/image" Target="../media/image30.png"/><Relationship Id="rId149" Type="http://schemas.openxmlformats.org/officeDocument/2006/relationships/image" Target="../media/image86.png"/><Relationship Id="rId314" Type="http://schemas.openxmlformats.org/officeDocument/2006/relationships/image" Target="../media/image168.png"/><Relationship Id="rId356" Type="http://schemas.openxmlformats.org/officeDocument/2006/relationships/image" Target="../media/image202.png"/><Relationship Id="rId398" Type="http://schemas.openxmlformats.org/officeDocument/2006/relationships/image" Target="../media/image228.png"/><Relationship Id="rId95" Type="http://schemas.openxmlformats.org/officeDocument/2006/relationships/hyperlink" Target="https://docs.microsoft.com/en-in/azure/azure-signalr/" TargetMode="External"/><Relationship Id="rId160" Type="http://schemas.openxmlformats.org/officeDocument/2006/relationships/image" Target="../media/image97.svg"/><Relationship Id="rId216" Type="http://schemas.openxmlformats.org/officeDocument/2006/relationships/hyperlink" Target="https://docs.microsoft.com/en-us/azure/cognitive-services/text-analytics/" TargetMode="External"/><Relationship Id="rId423" Type="http://schemas.openxmlformats.org/officeDocument/2006/relationships/image" Target="../media/image244.png"/><Relationship Id="rId258" Type="http://schemas.openxmlformats.org/officeDocument/2006/relationships/image" Target="../media/image125.png"/><Relationship Id="rId22" Type="http://schemas.openxmlformats.org/officeDocument/2006/relationships/image" Target="../media/image11.svg"/><Relationship Id="rId64" Type="http://schemas.openxmlformats.org/officeDocument/2006/relationships/hyperlink" Target="https://docs.microsoft.com/en-in/azure/traffic-manager/" TargetMode="External"/><Relationship Id="rId118" Type="http://schemas.openxmlformats.org/officeDocument/2006/relationships/image" Target="../media/image65.png"/><Relationship Id="rId325" Type="http://schemas.openxmlformats.org/officeDocument/2006/relationships/image" Target="../media/image177.png"/><Relationship Id="rId367" Type="http://schemas.openxmlformats.org/officeDocument/2006/relationships/hyperlink" Target="https://docs.microsoft.com/en-in/azure/stream-analytics/" TargetMode="External"/><Relationship Id="rId171" Type="http://schemas.openxmlformats.org/officeDocument/2006/relationships/hyperlink" Target="https://docs.microsoft.com/en-in/azure/event-hubs/" TargetMode="External"/><Relationship Id="rId227" Type="http://schemas.openxmlformats.org/officeDocument/2006/relationships/hyperlink" Target="https://docs.microsoft.com/en-in/azure/logic-apps/" TargetMode="External"/><Relationship Id="rId269" Type="http://schemas.openxmlformats.org/officeDocument/2006/relationships/image" Target="../media/image136.png"/><Relationship Id="rId434" Type="http://schemas.openxmlformats.org/officeDocument/2006/relationships/hyperlink" Target="https://docs.microsoft.com/en-in/azure/sql-data-warehouse/" TargetMode="External"/><Relationship Id="rId33" Type="http://schemas.openxmlformats.org/officeDocument/2006/relationships/image" Target="../media/image18.png"/><Relationship Id="rId129" Type="http://schemas.openxmlformats.org/officeDocument/2006/relationships/hyperlink" Target="https://docs.microsoft.com/en-in/azure/azure-maps/" TargetMode="External"/><Relationship Id="rId280" Type="http://schemas.openxmlformats.org/officeDocument/2006/relationships/image" Target="../media/image147.png"/><Relationship Id="rId336" Type="http://schemas.openxmlformats.org/officeDocument/2006/relationships/image" Target="../media/image188.png"/><Relationship Id="rId75" Type="http://schemas.openxmlformats.org/officeDocument/2006/relationships/image" Target="../media/image44.png"/><Relationship Id="rId140" Type="http://schemas.openxmlformats.org/officeDocument/2006/relationships/image" Target="../media/image77.svg"/><Relationship Id="rId182" Type="http://schemas.openxmlformats.org/officeDocument/2006/relationships/hyperlink" Target="https://docs.microsoft.com/en-us/azure/security/" TargetMode="External"/><Relationship Id="rId378" Type="http://schemas.openxmlformats.org/officeDocument/2006/relationships/hyperlink" Target="https://docs.microsoft.com/en-us/azure/azure-monitor/app/app-insights-overview" TargetMode="External"/><Relationship Id="rId403" Type="http://schemas.openxmlformats.org/officeDocument/2006/relationships/image" Target="../media/image233.png"/><Relationship Id="rId6" Type="http://schemas.openxmlformats.org/officeDocument/2006/relationships/image" Target="../media/image1.emf"/><Relationship Id="rId238" Type="http://schemas.openxmlformats.org/officeDocument/2006/relationships/image" Target="../media/image106.png"/><Relationship Id="rId445" Type="http://schemas.openxmlformats.org/officeDocument/2006/relationships/hyperlink" Target="https://docs.microsoft.com/en-us/azure/azure-arc/" TargetMode="External"/><Relationship Id="rId291" Type="http://schemas.openxmlformats.org/officeDocument/2006/relationships/hyperlink" Target="https://docs.microsoft.com/en-us/academic-services/knowledge-exploration-service/introduction" TargetMode="External"/><Relationship Id="rId305" Type="http://schemas.openxmlformats.org/officeDocument/2006/relationships/hyperlink" Target="https://docs.microsoft.com/en-us/azure/cognitive-services/bing-video-search/overview" TargetMode="External"/><Relationship Id="rId347" Type="http://schemas.openxmlformats.org/officeDocument/2006/relationships/image" Target="../media/image198.png"/><Relationship Id="rId44" Type="http://schemas.openxmlformats.org/officeDocument/2006/relationships/image" Target="../media/image24.png"/><Relationship Id="rId86" Type="http://schemas.openxmlformats.org/officeDocument/2006/relationships/hyperlink" Target="https://docs.microsoft.com/en-in/azure/databox-family/" TargetMode="External"/><Relationship Id="rId151" Type="http://schemas.openxmlformats.org/officeDocument/2006/relationships/image" Target="../media/image88.png"/><Relationship Id="rId389" Type="http://schemas.openxmlformats.org/officeDocument/2006/relationships/hyperlink" Target="https://docs.microsoft.com/en-us/azure/network-watcher/" TargetMode="External"/><Relationship Id="rId193" Type="http://schemas.openxmlformats.org/officeDocument/2006/relationships/hyperlink" Target="https://docs.microsoft.com/en-us/azure/role-based-access-control/" TargetMode="External"/><Relationship Id="rId207" Type="http://schemas.openxmlformats.org/officeDocument/2006/relationships/hyperlink" Target="https://docs.microsoft.com/en-us/azure/cognitive-services/face/" TargetMode="External"/><Relationship Id="rId249" Type="http://schemas.openxmlformats.org/officeDocument/2006/relationships/image" Target="../media/image116.png"/><Relationship Id="rId414" Type="http://schemas.openxmlformats.org/officeDocument/2006/relationships/hyperlink" Target="https://docs.microsoft.com/en-in/azure/Kinect-dk/" TargetMode="External"/><Relationship Id="rId13" Type="http://schemas.openxmlformats.org/officeDocument/2006/relationships/image" Target="../media/image5.svg"/><Relationship Id="rId109" Type="http://schemas.openxmlformats.org/officeDocument/2006/relationships/image" Target="../media/image56.svg"/><Relationship Id="rId260" Type="http://schemas.openxmlformats.org/officeDocument/2006/relationships/image" Target="../media/image127.png"/><Relationship Id="rId316" Type="http://schemas.openxmlformats.org/officeDocument/2006/relationships/image" Target="../media/image169.png"/><Relationship Id="rId55" Type="http://schemas.openxmlformats.org/officeDocument/2006/relationships/hyperlink" Target="https://docs.microsoft.com/en-in/azure/dns/" TargetMode="External"/><Relationship Id="rId97" Type="http://schemas.openxmlformats.org/officeDocument/2006/relationships/hyperlink" Target="https://docs.microsoft.com/en-in/azure/search/" TargetMode="External"/><Relationship Id="rId120" Type="http://schemas.openxmlformats.org/officeDocument/2006/relationships/image" Target="../media/image67.png"/><Relationship Id="rId358" Type="http://schemas.openxmlformats.org/officeDocument/2006/relationships/image" Target="../media/image203.png"/><Relationship Id="rId162" Type="http://schemas.openxmlformats.org/officeDocument/2006/relationships/image" Target="../media/image99.svg"/><Relationship Id="rId218" Type="http://schemas.openxmlformats.org/officeDocument/2006/relationships/hyperlink" Target="https://docs.microsoft.com/en-in/azure/sdks" TargetMode="External"/><Relationship Id="rId425" Type="http://schemas.openxmlformats.org/officeDocument/2006/relationships/image" Target="../media/image245.png"/><Relationship Id="rId271" Type="http://schemas.openxmlformats.org/officeDocument/2006/relationships/image" Target="../media/image138.png"/><Relationship Id="rId24" Type="http://schemas.openxmlformats.org/officeDocument/2006/relationships/image" Target="../media/image12.png"/><Relationship Id="rId66" Type="http://schemas.openxmlformats.org/officeDocument/2006/relationships/image" Target="../media/image39.svg"/><Relationship Id="rId131" Type="http://schemas.openxmlformats.org/officeDocument/2006/relationships/hyperlink" Target="https://docs.microsoft.com/en-in/azure/mysql/" TargetMode="External"/><Relationship Id="rId327" Type="http://schemas.openxmlformats.org/officeDocument/2006/relationships/image" Target="../media/image179.png"/><Relationship Id="rId369" Type="http://schemas.openxmlformats.org/officeDocument/2006/relationships/hyperlink" Target="https://docs.microsoft.com/en-in/azure/machine-learning/studio" TargetMode="External"/><Relationship Id="rId173" Type="http://schemas.openxmlformats.org/officeDocument/2006/relationships/hyperlink" Target="https://docs.microsoft.com/en-us/azure/data-lake-analytics/" TargetMode="External"/><Relationship Id="rId229" Type="http://schemas.openxmlformats.org/officeDocument/2006/relationships/hyperlink" Target="https://docs.microsoft.com/en-in/azure/media-services/" TargetMode="External"/><Relationship Id="rId380" Type="http://schemas.openxmlformats.org/officeDocument/2006/relationships/image" Target="../media/image217.png"/><Relationship Id="rId436" Type="http://schemas.openxmlformats.org/officeDocument/2006/relationships/image" Target="../media/image250.png"/><Relationship Id="rId240" Type="http://schemas.openxmlformats.org/officeDocument/2006/relationships/image" Target="../media/image108.png"/><Relationship Id="rId35" Type="http://schemas.openxmlformats.org/officeDocument/2006/relationships/hyperlink" Target="https://docs.microsoft.com/en-in/azure/aks/" TargetMode="External"/><Relationship Id="rId77" Type="http://schemas.openxmlformats.org/officeDocument/2006/relationships/hyperlink" Target="https://docs.microsoft.com/en-in/azure/site-recovery/" TargetMode="External"/><Relationship Id="rId100" Type="http://schemas.openxmlformats.org/officeDocument/2006/relationships/image" Target="../media/image47.png"/><Relationship Id="rId282" Type="http://schemas.openxmlformats.org/officeDocument/2006/relationships/image" Target="../media/image149.png"/><Relationship Id="rId338" Type="http://schemas.openxmlformats.org/officeDocument/2006/relationships/image" Target="../media/image190.png"/><Relationship Id="rId8" Type="http://schemas.openxmlformats.org/officeDocument/2006/relationships/image" Target="../media/image2.png"/><Relationship Id="rId142" Type="http://schemas.openxmlformats.org/officeDocument/2006/relationships/image" Target="../media/image79.svg"/><Relationship Id="rId184" Type="http://schemas.openxmlformats.org/officeDocument/2006/relationships/hyperlink" Target="https://docs.microsoft.com/en-us/azure/key-vault/" TargetMode="External"/><Relationship Id="rId391" Type="http://schemas.openxmlformats.org/officeDocument/2006/relationships/hyperlink" Target="https://docs.microsoft.com/en-us/azure/service-health/" TargetMode="External"/><Relationship Id="rId405" Type="http://schemas.openxmlformats.org/officeDocument/2006/relationships/image" Target="../media/image234.png"/><Relationship Id="rId447" Type="http://schemas.openxmlformats.org/officeDocument/2006/relationships/image" Target="../media/image256.png"/><Relationship Id="rId251" Type="http://schemas.openxmlformats.org/officeDocument/2006/relationships/image" Target="../media/image118.png"/><Relationship Id="rId46" Type="http://schemas.openxmlformats.org/officeDocument/2006/relationships/hyperlink" Target="https://docs.microsoft.com/en-in/azure/application-gateway/" TargetMode="External"/><Relationship Id="rId293" Type="http://schemas.openxmlformats.org/officeDocument/2006/relationships/hyperlink" Target="https://docs.microsoft.com/en-us/azure/cognitive-services/text-analytics/how-tos/text-analytics-how-to-entity-linking?tabs=version-3" TargetMode="External"/><Relationship Id="rId307" Type="http://schemas.openxmlformats.org/officeDocument/2006/relationships/hyperlink" Target="https://docs.microsoft.com/en-us/azure/cognitive-services/bing-web-search/" TargetMode="External"/><Relationship Id="rId349" Type="http://schemas.openxmlformats.org/officeDocument/2006/relationships/hyperlink" Target="https://docs.microsoft.com/en-in/azure/iot-edge/" TargetMode="External"/><Relationship Id="rId88" Type="http://schemas.openxmlformats.org/officeDocument/2006/relationships/hyperlink" Target="https://docs.microsoft.com/en-in/azure/vs-azure-tools-storage-manage-with-storage-explorer?tabs=windows" TargetMode="External"/><Relationship Id="rId111" Type="http://schemas.openxmlformats.org/officeDocument/2006/relationships/image" Target="../media/image58.png"/><Relationship Id="rId153" Type="http://schemas.openxmlformats.org/officeDocument/2006/relationships/image" Target="../media/image90.png"/><Relationship Id="rId195" Type="http://schemas.openxmlformats.org/officeDocument/2006/relationships/hyperlink" Target="https://docs.microsoft.com/en-us/azure/asc-for-iot/" TargetMode="External"/><Relationship Id="rId209" Type="http://schemas.openxmlformats.org/officeDocument/2006/relationships/hyperlink" Target="https://docs.microsoft.com/en-us/azure/cognitive-services/speech-service/" TargetMode="External"/><Relationship Id="rId360" Type="http://schemas.openxmlformats.org/officeDocument/2006/relationships/image" Target="../media/image204.png"/><Relationship Id="rId416" Type="http://schemas.openxmlformats.org/officeDocument/2006/relationships/hyperlink" Target="https://docs.microsoft.com/en-in/azure/data-share/" TargetMode="External"/><Relationship Id="rId220" Type="http://schemas.openxmlformats.org/officeDocument/2006/relationships/hyperlink" Target="https://docs.microsoft.com/en-in/azure/active-directory/" TargetMode="External"/><Relationship Id="rId15" Type="http://schemas.openxmlformats.org/officeDocument/2006/relationships/image" Target="../media/image6.png"/><Relationship Id="rId57" Type="http://schemas.openxmlformats.org/officeDocument/2006/relationships/image" Target="../media/image33.svg"/><Relationship Id="rId262" Type="http://schemas.openxmlformats.org/officeDocument/2006/relationships/image" Target="../media/image129.png"/><Relationship Id="rId318" Type="http://schemas.openxmlformats.org/officeDocument/2006/relationships/image" Target="../media/image170.png"/><Relationship Id="rId99" Type="http://schemas.openxmlformats.org/officeDocument/2006/relationships/image" Target="../media/image46.svg"/><Relationship Id="rId122" Type="http://schemas.openxmlformats.org/officeDocument/2006/relationships/image" Target="../media/image69.png"/><Relationship Id="rId164" Type="http://schemas.openxmlformats.org/officeDocument/2006/relationships/image" Target="../media/image101.svg"/><Relationship Id="rId371" Type="http://schemas.openxmlformats.org/officeDocument/2006/relationships/image" Target="../media/image211.svg"/><Relationship Id="rId427" Type="http://schemas.openxmlformats.org/officeDocument/2006/relationships/image" Target="../media/image246.png"/><Relationship Id="rId26" Type="http://schemas.openxmlformats.org/officeDocument/2006/relationships/hyperlink" Target="https://docs.microsoft.com/en-in/azure/virtual-machine-scale-sets/" TargetMode="External"/><Relationship Id="rId231" Type="http://schemas.openxmlformats.org/officeDocument/2006/relationships/hyperlink" Target="https://docs.microsoft.com/en-in/azure/media-services/media-services-manage-channels-overview" TargetMode="External"/><Relationship Id="rId273" Type="http://schemas.openxmlformats.org/officeDocument/2006/relationships/image" Target="../media/image140.png"/><Relationship Id="rId329" Type="http://schemas.openxmlformats.org/officeDocument/2006/relationships/image" Target="../media/image181.png"/><Relationship Id="rId68" Type="http://schemas.openxmlformats.org/officeDocument/2006/relationships/image" Target="../media/image40.png"/><Relationship Id="rId133" Type="http://schemas.openxmlformats.org/officeDocument/2006/relationships/hyperlink" Target="https://docs.microsoft.com/en-in/azure/sql-server-stretch-database/" TargetMode="External"/><Relationship Id="rId175" Type="http://schemas.openxmlformats.org/officeDocument/2006/relationships/hyperlink" Target="https://docs.microsoft.com/en-us/azure/data-explorer/" TargetMode="External"/><Relationship Id="rId340" Type="http://schemas.openxmlformats.org/officeDocument/2006/relationships/image" Target="../media/image192.png"/><Relationship Id="rId200" Type="http://schemas.openxmlformats.org/officeDocument/2006/relationships/hyperlink" Target="https://docs.microsoft.com/en-us/azure/genomics/" TargetMode="External"/><Relationship Id="rId382" Type="http://schemas.openxmlformats.org/officeDocument/2006/relationships/image" Target="../media/image218.png"/><Relationship Id="rId438" Type="http://schemas.openxmlformats.org/officeDocument/2006/relationships/image" Target="../media/image251.png"/><Relationship Id="rId242" Type="http://schemas.openxmlformats.org/officeDocument/2006/relationships/image" Target="../media/image110.png"/><Relationship Id="rId284" Type="http://schemas.openxmlformats.org/officeDocument/2006/relationships/image" Target="../media/image151.png"/><Relationship Id="rId37" Type="http://schemas.openxmlformats.org/officeDocument/2006/relationships/image" Target="../media/image21.svg"/><Relationship Id="rId79" Type="http://schemas.openxmlformats.org/officeDocument/2006/relationships/hyperlink" Target="https://docs.microsoft.com/en-in/azure/storage/queues/storage-queues-introduction" TargetMode="External"/><Relationship Id="rId102" Type="http://schemas.openxmlformats.org/officeDocument/2006/relationships/image" Target="../media/image49.png"/><Relationship Id="rId144" Type="http://schemas.openxmlformats.org/officeDocument/2006/relationships/image" Target="../media/image81.svg"/><Relationship Id="rId90" Type="http://schemas.openxmlformats.org/officeDocument/2006/relationships/hyperlink" Target="https://docs.microsoft.com/en-in/azure/azure-netapp-files/" TargetMode="External"/><Relationship Id="rId186" Type="http://schemas.openxmlformats.org/officeDocument/2006/relationships/hyperlink" Target="https://docs.microsoft.com/en-us/azure/virtual-network/ddos-protection-overview" TargetMode="External"/><Relationship Id="rId351" Type="http://schemas.openxmlformats.org/officeDocument/2006/relationships/hyperlink" Target="https://docs.microsoft.com/en-in/azure/iot-central/" TargetMode="External"/><Relationship Id="rId393" Type="http://schemas.openxmlformats.org/officeDocument/2006/relationships/hyperlink" Target="https://docs.microsoft.com/en-us/azure/azure-portal/" TargetMode="External"/><Relationship Id="rId407" Type="http://schemas.openxmlformats.org/officeDocument/2006/relationships/image" Target="../media/image235.png"/><Relationship Id="rId449" Type="http://schemas.openxmlformats.org/officeDocument/2006/relationships/image" Target="../media/image257.png"/><Relationship Id="rId211" Type="http://schemas.openxmlformats.org/officeDocument/2006/relationships/hyperlink" Target="https://docs.microsoft.com/en-us/azure/cognitive-services/speech-service/how-to-custom-speech" TargetMode="External"/><Relationship Id="rId253" Type="http://schemas.openxmlformats.org/officeDocument/2006/relationships/image" Target="../media/image120.png"/><Relationship Id="rId295" Type="http://schemas.openxmlformats.org/officeDocument/2006/relationships/hyperlink" Target="https://docs.microsoft.com/en-us/rest/api/searchservice/search-documents" TargetMode="External"/><Relationship Id="rId309" Type="http://schemas.openxmlformats.org/officeDocument/2006/relationships/hyperlink" Target="https://docs.microsoft.com/en-us/azure/cognitive-services/bing-visual-search/overview" TargetMode="External"/><Relationship Id="rId48" Type="http://schemas.openxmlformats.org/officeDocument/2006/relationships/image" Target="../media/image27.svg"/><Relationship Id="rId113" Type="http://schemas.openxmlformats.org/officeDocument/2006/relationships/image" Target="../media/image60.emf"/><Relationship Id="rId320" Type="http://schemas.openxmlformats.org/officeDocument/2006/relationships/image" Target="../media/image172.png"/><Relationship Id="rId155" Type="http://schemas.openxmlformats.org/officeDocument/2006/relationships/image" Target="../media/image92.png"/><Relationship Id="rId197" Type="http://schemas.openxmlformats.org/officeDocument/2006/relationships/hyperlink" Target="https://docs.microsoft.com/en-us/azure/bot-service/?view=azure-bot-service-4.0" TargetMode="External"/><Relationship Id="rId362" Type="http://schemas.openxmlformats.org/officeDocument/2006/relationships/image" Target="../media/image206.png"/><Relationship Id="rId418" Type="http://schemas.openxmlformats.org/officeDocument/2006/relationships/hyperlink" Target="https://docs.microsoft.com/en-us/azure/bastion/" TargetMode="External"/><Relationship Id="rId222" Type="http://schemas.openxmlformats.org/officeDocument/2006/relationships/hyperlink" Target="https://docs.microsoft.com/en-in/azure/information-protection/" TargetMode="External"/><Relationship Id="rId264" Type="http://schemas.openxmlformats.org/officeDocument/2006/relationships/image" Target="../media/image131.png"/><Relationship Id="rId17" Type="http://schemas.openxmlformats.org/officeDocument/2006/relationships/hyperlink" Target="https://docs.microsoft.com/en-in/azure/azure-functions/" TargetMode="External"/><Relationship Id="rId59" Type="http://schemas.openxmlformats.org/officeDocument/2006/relationships/image" Target="../media/image34.png"/><Relationship Id="rId124" Type="http://schemas.openxmlformats.org/officeDocument/2006/relationships/image" Target="../media/image71.png"/><Relationship Id="rId70" Type="http://schemas.openxmlformats.org/officeDocument/2006/relationships/hyperlink" Target="https://docs.microsoft.com/en-in/azure/virtual-network/" TargetMode="External"/><Relationship Id="rId166" Type="http://schemas.openxmlformats.org/officeDocument/2006/relationships/image" Target="../media/image103.svg"/><Relationship Id="rId331" Type="http://schemas.openxmlformats.org/officeDocument/2006/relationships/image" Target="../media/image183.png"/><Relationship Id="rId373" Type="http://schemas.openxmlformats.org/officeDocument/2006/relationships/image" Target="../media/image213.png"/><Relationship Id="rId429" Type="http://schemas.openxmlformats.org/officeDocument/2006/relationships/hyperlink" Target="https://docs.microsoft.com/en-in/azure/lighthouse/" TargetMode="External"/><Relationship Id="rId1" Type="http://schemas.openxmlformats.org/officeDocument/2006/relationships/vmlDrawing" Target="../drawings/vmlDrawing2.vml"/><Relationship Id="rId233" Type="http://schemas.openxmlformats.org/officeDocument/2006/relationships/hyperlink" Target="https://docs.microsoft.com/en-in/azure/media-services/media-services-content-protection-overview" TargetMode="External"/><Relationship Id="rId440" Type="http://schemas.openxmlformats.org/officeDocument/2006/relationships/hyperlink" Target="https://docs.microsoft.com/en-us/azure-stack/operator/azure-stack-hci-overview" TargetMode="External"/><Relationship Id="rId28" Type="http://schemas.openxmlformats.org/officeDocument/2006/relationships/image" Target="../media/image15.svg"/><Relationship Id="rId275" Type="http://schemas.openxmlformats.org/officeDocument/2006/relationships/image" Target="../media/image142.png"/><Relationship Id="rId300" Type="http://schemas.openxmlformats.org/officeDocument/2006/relationships/image" Target="../media/image161.png"/><Relationship Id="rId81" Type="http://schemas.openxmlformats.org/officeDocument/2006/relationships/hyperlink" Target="https://docs.microsoft.com/en-in/azure/virtual-machines/windows/managed-disks-overview" TargetMode="External"/><Relationship Id="rId135" Type="http://schemas.openxmlformats.org/officeDocument/2006/relationships/hyperlink" Target="https://docs.microsoft.com/en-in/azure/sql-database/" TargetMode="External"/><Relationship Id="rId177" Type="http://schemas.openxmlformats.org/officeDocument/2006/relationships/hyperlink" Target="https://docs.microsoft.com/en-us/azure/hdinsight/storm/apache-storm-overview" TargetMode="External"/><Relationship Id="rId342" Type="http://schemas.openxmlformats.org/officeDocument/2006/relationships/image" Target="../media/image194.png"/><Relationship Id="rId384" Type="http://schemas.openxmlformats.org/officeDocument/2006/relationships/image" Target="../media/image219.png"/><Relationship Id="rId202" Type="http://schemas.openxmlformats.org/officeDocument/2006/relationships/hyperlink" Target="https://docs.microsoft.com/en-us/azure/search/" TargetMode="External"/><Relationship Id="rId244" Type="http://schemas.openxmlformats.org/officeDocument/2006/relationships/image" Target="../media/image111.png"/><Relationship Id="rId39" Type="http://schemas.openxmlformats.org/officeDocument/2006/relationships/image" Target="../media/image22.png"/><Relationship Id="rId286" Type="http://schemas.openxmlformats.org/officeDocument/2006/relationships/image" Target="../media/image153.png"/><Relationship Id="rId451" Type="http://schemas.openxmlformats.org/officeDocument/2006/relationships/hyperlink" Target="mailto:%20pradyh@microsoft.com" TargetMode="Externa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37.svg"/><Relationship Id="rId21" Type="http://schemas.openxmlformats.org/officeDocument/2006/relationships/image" Target="../media/image266.png"/><Relationship Id="rId42" Type="http://schemas.openxmlformats.org/officeDocument/2006/relationships/hyperlink" Target="https://docs.microsoft.com/en-in/azure/virtual-machines/linux/" TargetMode="External"/><Relationship Id="rId63" Type="http://schemas.openxmlformats.org/officeDocument/2006/relationships/hyperlink" Target="https://docs.microsoft.com/en-us/azure/app-service/" TargetMode="External"/><Relationship Id="rId84" Type="http://schemas.openxmlformats.org/officeDocument/2006/relationships/hyperlink" Target="https://docs.microsoft.com/en-in/azure/app-service/containers/" TargetMode="External"/><Relationship Id="rId138" Type="http://schemas.openxmlformats.org/officeDocument/2006/relationships/image" Target="../media/image245.png"/><Relationship Id="rId107" Type="http://schemas.openxmlformats.org/officeDocument/2006/relationships/image" Target="../media/image295.png"/><Relationship Id="rId11" Type="http://schemas.openxmlformats.org/officeDocument/2006/relationships/hyperlink" Target="https://docs.microsoft.com/en-in/azure/storage/blobs/data-lake-storage-introduction" TargetMode="External"/><Relationship Id="rId32" Type="http://schemas.openxmlformats.org/officeDocument/2006/relationships/hyperlink" Target="https://docs.microsoft.com/en-in/azure/data-lake-store/" TargetMode="External"/><Relationship Id="rId37" Type="http://schemas.openxmlformats.org/officeDocument/2006/relationships/hyperlink" Target="https://docs.microsoft.com/en-in/azure/storage/blobs/storage-blobs-introduction" TargetMode="External"/><Relationship Id="rId53" Type="http://schemas.openxmlformats.org/officeDocument/2006/relationships/image" Target="../media/image9.svg"/><Relationship Id="rId58" Type="http://schemas.openxmlformats.org/officeDocument/2006/relationships/image" Target="../media/image279.png"/><Relationship Id="rId74" Type="http://schemas.openxmlformats.org/officeDocument/2006/relationships/image" Target="../media/image23.svg"/><Relationship Id="rId79" Type="http://schemas.openxmlformats.org/officeDocument/2006/relationships/image" Target="../media/image287.png"/><Relationship Id="rId102" Type="http://schemas.openxmlformats.org/officeDocument/2006/relationships/image" Target="../media/image29.svg"/><Relationship Id="rId123" Type="http://schemas.openxmlformats.org/officeDocument/2006/relationships/image" Target="../media/image41.svg"/><Relationship Id="rId128" Type="http://schemas.openxmlformats.org/officeDocument/2006/relationships/hyperlink" Target="https://docs.microsoft.com/en-in/azure/networking/networking-overview" TargetMode="External"/><Relationship Id="rId5" Type="http://schemas.openxmlformats.org/officeDocument/2006/relationships/oleObject" Target="../embeddings/oleObject3.bin"/><Relationship Id="rId90" Type="http://schemas.openxmlformats.org/officeDocument/2006/relationships/hyperlink" Target="https://docs.microsoft.com/en-us/azure/databox-online/data-box-edge-overview" TargetMode="External"/><Relationship Id="rId95" Type="http://schemas.openxmlformats.org/officeDocument/2006/relationships/image" Target="../media/image291.png"/><Relationship Id="rId22" Type="http://schemas.openxmlformats.org/officeDocument/2006/relationships/image" Target="../media/image52.svg"/><Relationship Id="rId27" Type="http://schemas.openxmlformats.org/officeDocument/2006/relationships/image" Target="../media/image268.png"/><Relationship Id="rId43" Type="http://schemas.openxmlformats.org/officeDocument/2006/relationships/image" Target="../media/image271.png"/><Relationship Id="rId48" Type="http://schemas.openxmlformats.org/officeDocument/2006/relationships/hyperlink" Target="https://docs.microsoft.com/en-in/azure/cloud-services/" TargetMode="External"/><Relationship Id="rId64" Type="http://schemas.openxmlformats.org/officeDocument/2006/relationships/image" Target="../media/image282.png"/><Relationship Id="rId69" Type="http://schemas.openxmlformats.org/officeDocument/2006/relationships/hyperlink" Target="https://docs.microsoft.com/en-in/azure/aks/" TargetMode="External"/><Relationship Id="rId113" Type="http://schemas.openxmlformats.org/officeDocument/2006/relationships/image" Target="../media/image297.png"/><Relationship Id="rId118" Type="http://schemas.openxmlformats.org/officeDocument/2006/relationships/hyperlink" Target="https://docs.microsoft.com/en-in/azure/traffic-manager/" TargetMode="External"/><Relationship Id="rId134" Type="http://schemas.openxmlformats.org/officeDocument/2006/relationships/image" Target="../media/image243.png"/><Relationship Id="rId139" Type="http://schemas.openxmlformats.org/officeDocument/2006/relationships/hyperlink" Target="https://docs.microsoft.com/en-in/azure/firewall-manager/" TargetMode="External"/><Relationship Id="rId80" Type="http://schemas.openxmlformats.org/officeDocument/2006/relationships/image" Target="../media/image288.svg"/><Relationship Id="rId85" Type="http://schemas.openxmlformats.org/officeDocument/2006/relationships/hyperlink" Target="https://docs.microsoft.com/en-in/azure/app-service/" TargetMode="External"/><Relationship Id="rId12" Type="http://schemas.openxmlformats.org/officeDocument/2006/relationships/image" Target="../media/image262.png"/><Relationship Id="rId17" Type="http://schemas.openxmlformats.org/officeDocument/2006/relationships/hyperlink" Target="https://docs.microsoft.com/en-in/azure/backup/" TargetMode="External"/><Relationship Id="rId33" Type="http://schemas.openxmlformats.org/officeDocument/2006/relationships/hyperlink" Target="https://docs.microsoft.com/en-in/azure/vs-azure-tools-storage-manage-with-storage-explorer?tabs=windows" TargetMode="External"/><Relationship Id="rId38" Type="http://schemas.openxmlformats.org/officeDocument/2006/relationships/image" Target="../media/image270.png"/><Relationship Id="rId59" Type="http://schemas.openxmlformats.org/officeDocument/2006/relationships/image" Target="../media/image13.svg"/><Relationship Id="rId103" Type="http://schemas.openxmlformats.org/officeDocument/2006/relationships/hyperlink" Target="https://docs.microsoft.com/en-in/azure/cdn/" TargetMode="External"/><Relationship Id="rId108" Type="http://schemas.openxmlformats.org/officeDocument/2006/relationships/image" Target="../media/image31.svg"/><Relationship Id="rId124" Type="http://schemas.openxmlformats.org/officeDocument/2006/relationships/hyperlink" Target="https://docs.microsoft.com/en-in/azure/virtual-network/" TargetMode="External"/><Relationship Id="rId129" Type="http://schemas.openxmlformats.org/officeDocument/2006/relationships/image" Target="../media/image302.png"/><Relationship Id="rId54" Type="http://schemas.openxmlformats.org/officeDocument/2006/relationships/hyperlink" Target="https://docs.microsoft.com/en-in/azure/cyclecloud/" TargetMode="External"/><Relationship Id="rId70" Type="http://schemas.openxmlformats.org/officeDocument/2006/relationships/image" Target="../media/image285.png"/><Relationship Id="rId75" Type="http://schemas.openxmlformats.org/officeDocument/2006/relationships/hyperlink" Target="https://docs.microsoft.com/en-in/azure/virtual-machines/windows/" TargetMode="External"/><Relationship Id="rId91" Type="http://schemas.openxmlformats.org/officeDocument/2006/relationships/image" Target="../media/image251.png"/><Relationship Id="rId96" Type="http://schemas.openxmlformats.org/officeDocument/2006/relationships/image" Target="../media/image25.svg"/><Relationship Id="rId140" Type="http://schemas.openxmlformats.org/officeDocument/2006/relationships/image" Target="../media/image246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23" Type="http://schemas.openxmlformats.org/officeDocument/2006/relationships/hyperlink" Target="https://docs.microsoft.com/en-in/azure/azure-netapp-files/" TargetMode="External"/><Relationship Id="rId28" Type="http://schemas.openxmlformats.org/officeDocument/2006/relationships/image" Target="../media/image269.svg"/><Relationship Id="rId49" Type="http://schemas.openxmlformats.org/officeDocument/2006/relationships/image" Target="../media/image275.png"/><Relationship Id="rId114" Type="http://schemas.openxmlformats.org/officeDocument/2006/relationships/image" Target="../media/image35.svg"/><Relationship Id="rId119" Type="http://schemas.openxmlformats.org/officeDocument/2006/relationships/image" Target="../media/image299.png"/><Relationship Id="rId44" Type="http://schemas.openxmlformats.org/officeDocument/2006/relationships/image" Target="../media/image272.svg"/><Relationship Id="rId60" Type="http://schemas.openxmlformats.org/officeDocument/2006/relationships/hyperlink" Target="https://docs.microsoft.com/en-in/azure/virtual-machine-scale-sets/" TargetMode="External"/><Relationship Id="rId65" Type="http://schemas.openxmlformats.org/officeDocument/2006/relationships/image" Target="../media/image283.svg"/><Relationship Id="rId81" Type="http://schemas.openxmlformats.org/officeDocument/2006/relationships/hyperlink" Target="https://docs.microsoft.com/en-in/azure/dev-spaces/" TargetMode="External"/><Relationship Id="rId86" Type="http://schemas.openxmlformats.org/officeDocument/2006/relationships/hyperlink" Target="https://docs.microsoft.com/en-in/azure-stack" TargetMode="External"/><Relationship Id="rId130" Type="http://schemas.openxmlformats.org/officeDocument/2006/relationships/image" Target="../media/image241.png"/><Relationship Id="rId135" Type="http://schemas.openxmlformats.org/officeDocument/2006/relationships/hyperlink" Target="https://go.microsoft.com/fwlink/?linkid=2097091" TargetMode="External"/><Relationship Id="rId13" Type="http://schemas.openxmlformats.org/officeDocument/2006/relationships/image" Target="../media/image263.svg"/><Relationship Id="rId18" Type="http://schemas.openxmlformats.org/officeDocument/2006/relationships/image" Target="../media/image265.png"/><Relationship Id="rId39" Type="http://schemas.openxmlformats.org/officeDocument/2006/relationships/image" Target="../media/image59.svg"/><Relationship Id="rId109" Type="http://schemas.openxmlformats.org/officeDocument/2006/relationships/hyperlink" Target="https://docs.microsoft.com/en-in/azure/dns/" TargetMode="External"/><Relationship Id="rId34" Type="http://schemas.openxmlformats.org/officeDocument/2006/relationships/hyperlink" Target="https://docs.microsoft.com/en-in/azure/storage/blobs/storage-blob-storage-tiers" TargetMode="External"/><Relationship Id="rId50" Type="http://schemas.openxmlformats.org/officeDocument/2006/relationships/image" Target="../media/image276.svg"/><Relationship Id="rId55" Type="http://schemas.openxmlformats.org/officeDocument/2006/relationships/image" Target="../media/image278.png"/><Relationship Id="rId76" Type="http://schemas.openxmlformats.org/officeDocument/2006/relationships/hyperlink" Target="https://docs.microsoft.com/en-in/azure/virtual-machines/windows/sql/virtual-machines-windows-sql-server-iaas-overview?toc=%2Fazure%2Fvirtual-machines%2Fwindows%2Ftoc.json" TargetMode="External"/><Relationship Id="rId97" Type="http://schemas.openxmlformats.org/officeDocument/2006/relationships/hyperlink" Target="https://docs.microsoft.com/en-in/azure/application-gateway/" TargetMode="External"/><Relationship Id="rId104" Type="http://schemas.openxmlformats.org/officeDocument/2006/relationships/image" Target="../media/image294.png"/><Relationship Id="rId120" Type="http://schemas.openxmlformats.org/officeDocument/2006/relationships/image" Target="../media/image39.svg"/><Relationship Id="rId125" Type="http://schemas.openxmlformats.org/officeDocument/2006/relationships/image" Target="../media/image301.png"/><Relationship Id="rId141" Type="http://schemas.openxmlformats.org/officeDocument/2006/relationships/hyperlink" Target="https://docs.microsoft.com/en-in/azure/internet-analyzer/" TargetMode="External"/><Relationship Id="rId7" Type="http://schemas.openxmlformats.org/officeDocument/2006/relationships/image" Target="../media/image258.png"/><Relationship Id="rId71" Type="http://schemas.openxmlformats.org/officeDocument/2006/relationships/image" Target="../media/image21.svg"/><Relationship Id="rId92" Type="http://schemas.openxmlformats.org/officeDocument/2006/relationships/image" Target="../media/image252.png"/><Relationship Id="rId2" Type="http://schemas.openxmlformats.org/officeDocument/2006/relationships/tags" Target="../tags/tag4.xml"/><Relationship Id="rId29" Type="http://schemas.openxmlformats.org/officeDocument/2006/relationships/hyperlink" Target="https://docs.microsoft.com/en-in/azure/storage/files/storage-files-introduction/" TargetMode="External"/><Relationship Id="rId24" Type="http://schemas.openxmlformats.org/officeDocument/2006/relationships/image" Target="../media/image267.png"/><Relationship Id="rId40" Type="http://schemas.openxmlformats.org/officeDocument/2006/relationships/hyperlink" Target="https://docs.microsoft.com/en-in/azure/databox-family/" TargetMode="External"/><Relationship Id="rId45" Type="http://schemas.openxmlformats.org/officeDocument/2006/relationships/hyperlink" Target="https://docs.microsoft.com/en-in/azure/service-fabric/" TargetMode="External"/><Relationship Id="rId66" Type="http://schemas.openxmlformats.org/officeDocument/2006/relationships/hyperlink" Target="https://docs.microsoft.com/en-in/azure/container-instances/" TargetMode="External"/><Relationship Id="rId87" Type="http://schemas.openxmlformats.org/officeDocument/2006/relationships/image" Target="../media/image235.png"/><Relationship Id="rId110" Type="http://schemas.openxmlformats.org/officeDocument/2006/relationships/image" Target="../media/image296.png"/><Relationship Id="rId115" Type="http://schemas.openxmlformats.org/officeDocument/2006/relationships/hyperlink" Target="https://docs.microsoft.com/en-in/azure/load-balancer/" TargetMode="External"/><Relationship Id="rId131" Type="http://schemas.openxmlformats.org/officeDocument/2006/relationships/hyperlink" Target="https://docs.microsoft.com/en-us/azure/bastion/" TargetMode="External"/><Relationship Id="rId136" Type="http://schemas.openxmlformats.org/officeDocument/2006/relationships/image" Target="../media/image244.png"/><Relationship Id="rId61" Type="http://schemas.openxmlformats.org/officeDocument/2006/relationships/image" Target="../media/image280.png"/><Relationship Id="rId82" Type="http://schemas.openxmlformats.org/officeDocument/2006/relationships/image" Target="../media/image289.png"/><Relationship Id="rId19" Type="http://schemas.openxmlformats.org/officeDocument/2006/relationships/image" Target="../media/image50.svg"/><Relationship Id="rId14" Type="http://schemas.openxmlformats.org/officeDocument/2006/relationships/hyperlink" Target="https://docs.microsoft.com/en-in/azure/virtual-machines/windows/managed-disks-overview" TargetMode="External"/><Relationship Id="rId30" Type="http://schemas.openxmlformats.org/officeDocument/2006/relationships/hyperlink" Target="https://docs.microsoft.com/en-in/azure/storage/queues/storage-queues-introduction" TargetMode="External"/><Relationship Id="rId35" Type="http://schemas.openxmlformats.org/officeDocument/2006/relationships/hyperlink" Target="https://docs.microsoft.com/en-in/azure/avere-vfxt/" TargetMode="External"/><Relationship Id="rId56" Type="http://schemas.openxmlformats.org/officeDocument/2006/relationships/image" Target="../media/image11.svg"/><Relationship Id="rId77" Type="http://schemas.openxmlformats.org/officeDocument/2006/relationships/hyperlink" Target="https://docs.microsoft.com/en-in/azure/virtual-machines/workloads/sap/hana-overview-architecture" TargetMode="External"/><Relationship Id="rId100" Type="http://schemas.openxmlformats.org/officeDocument/2006/relationships/hyperlink" Target="https://docs.microsoft.com/en-in/azure/firewall/" TargetMode="External"/><Relationship Id="rId105" Type="http://schemas.openxmlformats.org/officeDocument/2006/relationships/image" Target="../media/image70.svg"/><Relationship Id="rId126" Type="http://schemas.openxmlformats.org/officeDocument/2006/relationships/image" Target="../media/image43.svg"/><Relationship Id="rId8" Type="http://schemas.openxmlformats.org/officeDocument/2006/relationships/image" Target="../media/image259.svg"/><Relationship Id="rId51" Type="http://schemas.openxmlformats.org/officeDocument/2006/relationships/hyperlink" Target="https://docs.microsoft.com/en-in/azure/azure-functions/" TargetMode="External"/><Relationship Id="rId72" Type="http://schemas.openxmlformats.org/officeDocument/2006/relationships/hyperlink" Target="https://docs.microsoft.com/en-in/azure/batch/" TargetMode="External"/><Relationship Id="rId93" Type="http://schemas.openxmlformats.org/officeDocument/2006/relationships/hyperlink" Target="https://docs.microsoft.com/en-us/azure-stack/operator/azure-stack-hci-overview" TargetMode="External"/><Relationship Id="rId98" Type="http://schemas.openxmlformats.org/officeDocument/2006/relationships/image" Target="../media/image292.png"/><Relationship Id="rId121" Type="http://schemas.openxmlformats.org/officeDocument/2006/relationships/hyperlink" Target="https://docs.microsoft.com/en-in/azure/vpn-gateway/" TargetMode="External"/><Relationship Id="rId142" Type="http://schemas.openxmlformats.org/officeDocument/2006/relationships/image" Target="../media/image254.png"/><Relationship Id="rId3" Type="http://schemas.openxmlformats.org/officeDocument/2006/relationships/slideLayout" Target="../slideLayouts/slideLayout2.xml"/><Relationship Id="rId25" Type="http://schemas.openxmlformats.org/officeDocument/2006/relationships/image" Target="../media/image54.svg"/><Relationship Id="rId46" Type="http://schemas.openxmlformats.org/officeDocument/2006/relationships/image" Target="../media/image273.png"/><Relationship Id="rId67" Type="http://schemas.openxmlformats.org/officeDocument/2006/relationships/image" Target="../media/image284.png"/><Relationship Id="rId116" Type="http://schemas.openxmlformats.org/officeDocument/2006/relationships/image" Target="../media/image298.png"/><Relationship Id="rId137" Type="http://schemas.openxmlformats.org/officeDocument/2006/relationships/hyperlink" Target="https://docs.microsoft.com/en-in/azure/peering-service/" TargetMode="External"/><Relationship Id="rId20" Type="http://schemas.openxmlformats.org/officeDocument/2006/relationships/hyperlink" Target="https://docs.microsoft.com/en-in/azure/storsimple/" TargetMode="External"/><Relationship Id="rId41" Type="http://schemas.openxmlformats.org/officeDocument/2006/relationships/image" Target="../media/image60.emf"/><Relationship Id="rId62" Type="http://schemas.openxmlformats.org/officeDocument/2006/relationships/image" Target="../media/image281.svg"/><Relationship Id="rId83" Type="http://schemas.openxmlformats.org/officeDocument/2006/relationships/image" Target="../media/image290.svg"/><Relationship Id="rId88" Type="http://schemas.openxmlformats.org/officeDocument/2006/relationships/hyperlink" Target="https://docs.microsoft.com/en-us/azure-stack/user/?view=azs-1910" TargetMode="External"/><Relationship Id="rId111" Type="http://schemas.openxmlformats.org/officeDocument/2006/relationships/image" Target="../media/image33.svg"/><Relationship Id="rId132" Type="http://schemas.openxmlformats.org/officeDocument/2006/relationships/image" Target="../media/image242.png"/><Relationship Id="rId15" Type="http://schemas.openxmlformats.org/officeDocument/2006/relationships/image" Target="../media/image264.png"/><Relationship Id="rId36" Type="http://schemas.openxmlformats.org/officeDocument/2006/relationships/image" Target="../media/image57.png"/><Relationship Id="rId57" Type="http://schemas.openxmlformats.org/officeDocument/2006/relationships/hyperlink" Target="https://docs.microsoft.com/en-us/azure/vmware-cloudsimple/cloudsimple-vmware-solutions-overview" TargetMode="External"/><Relationship Id="rId106" Type="http://schemas.openxmlformats.org/officeDocument/2006/relationships/hyperlink" Target="https://docs.microsoft.com/en-in/azure/virtual-network/ddos-protection-overview" TargetMode="External"/><Relationship Id="rId127" Type="http://schemas.openxmlformats.org/officeDocument/2006/relationships/hyperlink" Target="https://docs.microsoft.com/en-in/azure/expressroute/" TargetMode="External"/><Relationship Id="rId10" Type="http://schemas.openxmlformats.org/officeDocument/2006/relationships/image" Target="../media/image261.svg"/><Relationship Id="rId31" Type="http://schemas.openxmlformats.org/officeDocument/2006/relationships/hyperlink" Target="https://docs.microsoft.com/en-in/azure/storage/" TargetMode="External"/><Relationship Id="rId52" Type="http://schemas.openxmlformats.org/officeDocument/2006/relationships/image" Target="../media/image277.png"/><Relationship Id="rId73" Type="http://schemas.openxmlformats.org/officeDocument/2006/relationships/image" Target="../media/image286.png"/><Relationship Id="rId78" Type="http://schemas.openxmlformats.org/officeDocument/2006/relationships/hyperlink" Target="https://docs.microsoft.com/en-in/azure/container-registry/" TargetMode="External"/><Relationship Id="rId94" Type="http://schemas.openxmlformats.org/officeDocument/2006/relationships/hyperlink" Target="https://docs.microsoft.com/en-in/azure/network-watcher/" TargetMode="External"/><Relationship Id="rId99" Type="http://schemas.openxmlformats.org/officeDocument/2006/relationships/image" Target="../media/image27.svg"/><Relationship Id="rId101" Type="http://schemas.openxmlformats.org/officeDocument/2006/relationships/image" Target="../media/image293.png"/><Relationship Id="rId122" Type="http://schemas.openxmlformats.org/officeDocument/2006/relationships/image" Target="../media/image300.png"/><Relationship Id="rId143" Type="http://schemas.openxmlformats.org/officeDocument/2006/relationships/hyperlink" Target="https://docs.microsoft.com/en-in/azure/virtual-wan/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60.png"/><Relationship Id="rId26" Type="http://schemas.openxmlformats.org/officeDocument/2006/relationships/hyperlink" Target="https://docs.microsoft.com/en-in/azure/site-recovery/" TargetMode="External"/><Relationship Id="rId47" Type="http://schemas.openxmlformats.org/officeDocument/2006/relationships/image" Target="../media/image274.svg"/><Relationship Id="rId68" Type="http://schemas.openxmlformats.org/officeDocument/2006/relationships/image" Target="../media/image19.svg"/><Relationship Id="rId89" Type="http://schemas.openxmlformats.org/officeDocument/2006/relationships/hyperlink" Target="https://docs.microsoft.com/en-us/azure-stack/asdk/?view=azs-1910" TargetMode="External"/><Relationship Id="rId112" Type="http://schemas.openxmlformats.org/officeDocument/2006/relationships/hyperlink" Target="https://docs.microsoft.com/en-in/azure/frontdoor/" TargetMode="External"/><Relationship Id="rId133" Type="http://schemas.openxmlformats.org/officeDocument/2006/relationships/hyperlink" Target="https://docs.microsoft.com/en-in/azure/web-application-firewall/" TargetMode="External"/><Relationship Id="rId16" Type="http://schemas.openxmlformats.org/officeDocument/2006/relationships/image" Target="../media/image48.sv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hyperlink" Target="https://docs.microsoft.com/en-in/azure/service-health" TargetMode="External"/><Relationship Id="rId21" Type="http://schemas.openxmlformats.org/officeDocument/2006/relationships/image" Target="../media/image308.svg"/><Relationship Id="rId42" Type="http://schemas.openxmlformats.org/officeDocument/2006/relationships/hyperlink" Target="https://docs.microsoft.com/en-in/azure/multi-factor-authentication/" TargetMode="External"/><Relationship Id="rId63" Type="http://schemas.openxmlformats.org/officeDocument/2006/relationships/image" Target="../media/image98.png"/><Relationship Id="rId84" Type="http://schemas.openxmlformats.org/officeDocument/2006/relationships/image" Target="../media/image247.png"/><Relationship Id="rId138" Type="http://schemas.openxmlformats.org/officeDocument/2006/relationships/image" Target="../media/image255.png"/><Relationship Id="rId16" Type="http://schemas.openxmlformats.org/officeDocument/2006/relationships/hyperlink" Target="https://docs.microsoft.com/en-in/azure/role-based-access-control/" TargetMode="External"/><Relationship Id="rId107" Type="http://schemas.openxmlformats.org/officeDocument/2006/relationships/hyperlink" Target="https://docs.microsoft.com/en-in/azure/network-watcher/" TargetMode="External"/><Relationship Id="rId11" Type="http://schemas.openxmlformats.org/officeDocument/2006/relationships/image" Target="../media/image26.png"/><Relationship Id="rId32" Type="http://schemas.openxmlformats.org/officeDocument/2006/relationships/image" Target="../media/image122.png"/><Relationship Id="rId37" Type="http://schemas.openxmlformats.org/officeDocument/2006/relationships/image" Target="../media/image313.png"/><Relationship Id="rId53" Type="http://schemas.openxmlformats.org/officeDocument/2006/relationships/image" Target="../media/image322.svg"/><Relationship Id="rId58" Type="http://schemas.openxmlformats.org/officeDocument/2006/relationships/image" Target="../media/image323.png"/><Relationship Id="rId74" Type="http://schemas.openxmlformats.org/officeDocument/2006/relationships/hyperlink" Target="https://code.visualstudio.com/docs" TargetMode="External"/><Relationship Id="rId79" Type="http://schemas.openxmlformats.org/officeDocument/2006/relationships/hyperlink" Target="https://docs.microsoft.com/en-in/visualstudio/products" TargetMode="External"/><Relationship Id="rId102" Type="http://schemas.openxmlformats.org/officeDocument/2006/relationships/image" Target="../media/image345.png"/><Relationship Id="rId123" Type="http://schemas.openxmlformats.org/officeDocument/2006/relationships/hyperlink" Target="https://docs.microsoft.com/en-in/azure/cloud-shell/overview" TargetMode="External"/><Relationship Id="rId128" Type="http://schemas.openxmlformats.org/officeDocument/2006/relationships/image" Target="../media/image354.png"/><Relationship Id="rId5" Type="http://schemas.openxmlformats.org/officeDocument/2006/relationships/oleObject" Target="../embeddings/oleObject4.bin"/><Relationship Id="rId90" Type="http://schemas.openxmlformats.org/officeDocument/2006/relationships/image" Target="../media/image338.svg"/><Relationship Id="rId95" Type="http://schemas.openxmlformats.org/officeDocument/2006/relationships/hyperlink" Target="https://docs.microsoft.com/en-in/azure/governance/policy/" TargetMode="External"/><Relationship Id="rId22" Type="http://schemas.openxmlformats.org/officeDocument/2006/relationships/hyperlink" Target="https://docs.microsoft.com/en-in/azure/security/azure-threat-detection" TargetMode="External"/><Relationship Id="rId27" Type="http://schemas.openxmlformats.org/officeDocument/2006/relationships/image" Target="../media/image310.svg"/><Relationship Id="rId43" Type="http://schemas.openxmlformats.org/officeDocument/2006/relationships/image" Target="../media/image315.png"/><Relationship Id="rId48" Type="http://schemas.openxmlformats.org/officeDocument/2006/relationships/hyperlink" Target="https://support.hockeyapp.net/kb" TargetMode="External"/><Relationship Id="rId64" Type="http://schemas.openxmlformats.org/officeDocument/2006/relationships/image" Target="../media/image99.svg"/><Relationship Id="rId69" Type="http://schemas.openxmlformats.org/officeDocument/2006/relationships/image" Target="../media/image55.png"/><Relationship Id="rId113" Type="http://schemas.openxmlformats.org/officeDocument/2006/relationships/image" Target="../media/image39.svg"/><Relationship Id="rId118" Type="http://schemas.openxmlformats.org/officeDocument/2006/relationships/image" Target="../media/image351.png"/><Relationship Id="rId134" Type="http://schemas.openxmlformats.org/officeDocument/2006/relationships/image" Target="../media/image357.emf"/><Relationship Id="rId80" Type="http://schemas.openxmlformats.org/officeDocument/2006/relationships/hyperlink" Target="https://docs.microsoft.com/en-in/azure/blockchain-workbench" TargetMode="External"/><Relationship Id="rId85" Type="http://schemas.openxmlformats.org/officeDocument/2006/relationships/hyperlink" Target="https://docs.microsoft.com/en-in/azure/governance/blueprints/" TargetMode="External"/><Relationship Id="rId12" Type="http://schemas.openxmlformats.org/officeDocument/2006/relationships/image" Target="../media/image27.svg"/><Relationship Id="rId17" Type="http://schemas.openxmlformats.org/officeDocument/2006/relationships/image" Target="../media/image305.png"/><Relationship Id="rId33" Type="http://schemas.openxmlformats.org/officeDocument/2006/relationships/image" Target="../media/image311.png"/><Relationship Id="rId38" Type="http://schemas.openxmlformats.org/officeDocument/2006/relationships/image" Target="../media/image314.svg"/><Relationship Id="rId59" Type="http://schemas.openxmlformats.org/officeDocument/2006/relationships/image" Target="../media/image324.svg"/><Relationship Id="rId103" Type="http://schemas.openxmlformats.org/officeDocument/2006/relationships/image" Target="../media/image346.svg"/><Relationship Id="rId108" Type="http://schemas.openxmlformats.org/officeDocument/2006/relationships/image" Target="../media/image24.png"/><Relationship Id="rId124" Type="http://schemas.openxmlformats.org/officeDocument/2006/relationships/image" Target="../media/image226.png"/><Relationship Id="rId129" Type="http://schemas.openxmlformats.org/officeDocument/2006/relationships/hyperlink" Target="https://docs.microsoft.com/en-in/azure/log-analytics/" TargetMode="External"/><Relationship Id="rId54" Type="http://schemas.openxmlformats.org/officeDocument/2006/relationships/hyperlink" Target="https://docs.microsoft.com/en-in/appcenter/" TargetMode="External"/><Relationship Id="rId70" Type="http://schemas.openxmlformats.org/officeDocument/2006/relationships/image" Target="../media/image269.svg"/><Relationship Id="rId75" Type="http://schemas.openxmlformats.org/officeDocument/2006/relationships/image" Target="../media/image330.png"/><Relationship Id="rId91" Type="http://schemas.openxmlformats.org/officeDocument/2006/relationships/hyperlink" Target="https://docs.microsoft.com/en-in/azure/billing/" TargetMode="External"/><Relationship Id="rId96" Type="http://schemas.openxmlformats.org/officeDocument/2006/relationships/image" Target="../media/image341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23" Type="http://schemas.openxmlformats.org/officeDocument/2006/relationships/hyperlink" Target="https://docs.microsoft.com/en-in/azure/security-center" TargetMode="External"/><Relationship Id="rId28" Type="http://schemas.openxmlformats.org/officeDocument/2006/relationships/hyperlink" Target="https://docs.microsoft.com/en-in/azure/vpn-gateway/" TargetMode="External"/><Relationship Id="rId49" Type="http://schemas.openxmlformats.org/officeDocument/2006/relationships/image" Target="../media/image319.png"/><Relationship Id="rId114" Type="http://schemas.openxmlformats.org/officeDocument/2006/relationships/hyperlink" Target="https://docs.microsoft.com/en-in/azure/azure-resource-manager/" TargetMode="External"/><Relationship Id="rId119" Type="http://schemas.openxmlformats.org/officeDocument/2006/relationships/image" Target="../media/image352.svg"/><Relationship Id="rId44" Type="http://schemas.openxmlformats.org/officeDocument/2006/relationships/image" Target="../media/image316.svg"/><Relationship Id="rId60" Type="http://schemas.openxmlformats.org/officeDocument/2006/relationships/hyperlink" Target="https://docs.microsoft.com/en-in/azure/integrations" TargetMode="External"/><Relationship Id="rId65" Type="http://schemas.openxmlformats.org/officeDocument/2006/relationships/image" Target="../media/image325.emf"/><Relationship Id="rId81" Type="http://schemas.openxmlformats.org/officeDocument/2006/relationships/image" Target="../media/image334.emf"/><Relationship Id="rId86" Type="http://schemas.openxmlformats.org/officeDocument/2006/relationships/image" Target="../media/image335.png"/><Relationship Id="rId130" Type="http://schemas.openxmlformats.org/officeDocument/2006/relationships/image" Target="../media/image355.png"/><Relationship Id="rId135" Type="http://schemas.openxmlformats.org/officeDocument/2006/relationships/image" Target="../media/image225.png"/><Relationship Id="rId13" Type="http://schemas.openxmlformats.org/officeDocument/2006/relationships/hyperlink" Target="https://docs.microsoft.com/en-in/azure/virtual-network/ddos-protection-overview" TargetMode="External"/><Relationship Id="rId18" Type="http://schemas.openxmlformats.org/officeDocument/2006/relationships/image" Target="../media/image306.svg"/><Relationship Id="rId39" Type="http://schemas.openxmlformats.org/officeDocument/2006/relationships/hyperlink" Target="https://docs.microsoft.com/en-in/azure/dedicated-hsm" TargetMode="External"/><Relationship Id="rId109" Type="http://schemas.openxmlformats.org/officeDocument/2006/relationships/image" Target="../media/image25.svg"/><Relationship Id="rId34" Type="http://schemas.openxmlformats.org/officeDocument/2006/relationships/image" Target="../media/image312.svg"/><Relationship Id="rId50" Type="http://schemas.openxmlformats.org/officeDocument/2006/relationships/image" Target="../media/image320.svg"/><Relationship Id="rId55" Type="http://schemas.openxmlformats.org/officeDocument/2006/relationships/image" Target="../media/image80.png"/><Relationship Id="rId76" Type="http://schemas.openxmlformats.org/officeDocument/2006/relationships/image" Target="../media/image331.svg"/><Relationship Id="rId97" Type="http://schemas.openxmlformats.org/officeDocument/2006/relationships/image" Target="../media/image342.svg"/><Relationship Id="rId104" Type="http://schemas.openxmlformats.org/officeDocument/2006/relationships/hyperlink" Target="https://docs.microsoft.com/en-in/azure/monitoring-and-diagnostics/" TargetMode="External"/><Relationship Id="rId120" Type="http://schemas.openxmlformats.org/officeDocument/2006/relationships/hyperlink" Target="https://docs.microsoft.com/en-in/azure/backup/" TargetMode="External"/><Relationship Id="rId125" Type="http://schemas.openxmlformats.org/officeDocument/2006/relationships/hyperlink" Target="https://docs.microsoft.com/en-in/azure/managed-applications" TargetMode="External"/><Relationship Id="rId7" Type="http://schemas.openxmlformats.org/officeDocument/2006/relationships/hyperlink" Target="https://docs.microsoft.com/en-in/azure/security/" TargetMode="External"/><Relationship Id="rId71" Type="http://schemas.openxmlformats.org/officeDocument/2006/relationships/hyperlink" Target="https://docs.microsoft.com/en-in/azure/sdks" TargetMode="External"/><Relationship Id="rId92" Type="http://schemas.openxmlformats.org/officeDocument/2006/relationships/image" Target="../media/image339.png"/><Relationship Id="rId2" Type="http://schemas.openxmlformats.org/officeDocument/2006/relationships/tags" Target="../tags/tag5.xml"/><Relationship Id="rId29" Type="http://schemas.openxmlformats.org/officeDocument/2006/relationships/image" Target="../media/image40.png"/><Relationship Id="rId24" Type="http://schemas.openxmlformats.org/officeDocument/2006/relationships/hyperlink" Target="https://docs.microsoft.com/en-in/azure/active-directory-domain-services" TargetMode="External"/><Relationship Id="rId40" Type="http://schemas.openxmlformats.org/officeDocument/2006/relationships/image" Target="../media/image120.png"/><Relationship Id="rId45" Type="http://schemas.openxmlformats.org/officeDocument/2006/relationships/hyperlink" Target="https://docs.microsoft.com/en-in/azure/lab-services/" TargetMode="External"/><Relationship Id="rId66" Type="http://schemas.openxmlformats.org/officeDocument/2006/relationships/image" Target="../media/image326.png"/><Relationship Id="rId87" Type="http://schemas.openxmlformats.org/officeDocument/2006/relationships/image" Target="../media/image336.svg"/><Relationship Id="rId110" Type="http://schemas.openxmlformats.org/officeDocument/2006/relationships/hyperlink" Target="https://docs.microsoft.com/en-in/azure/scheduler/" TargetMode="External"/><Relationship Id="rId115" Type="http://schemas.openxmlformats.org/officeDocument/2006/relationships/image" Target="../media/image349.png"/><Relationship Id="rId131" Type="http://schemas.openxmlformats.org/officeDocument/2006/relationships/image" Target="../media/image356.svg"/><Relationship Id="rId136" Type="http://schemas.openxmlformats.org/officeDocument/2006/relationships/hyperlink" Target="https://docs.microsoft.com/en-in/azure/lighthouse/" TargetMode="External"/><Relationship Id="rId61" Type="http://schemas.openxmlformats.org/officeDocument/2006/relationships/image" Target="../media/image181.png"/><Relationship Id="rId82" Type="http://schemas.openxmlformats.org/officeDocument/2006/relationships/hyperlink" Target="https://docs.microsoft.com/en-in/azure/cli" TargetMode="External"/><Relationship Id="rId19" Type="http://schemas.openxmlformats.org/officeDocument/2006/relationships/hyperlink" Target="https://docs.microsoft.com/en-in/azure/active-directory/" TargetMode="External"/><Relationship Id="rId14" Type="http://schemas.openxmlformats.org/officeDocument/2006/relationships/image" Target="../media/image30.png"/><Relationship Id="rId30" Type="http://schemas.openxmlformats.org/officeDocument/2006/relationships/image" Target="../media/image41.svg"/><Relationship Id="rId35" Type="http://schemas.openxmlformats.org/officeDocument/2006/relationships/hyperlink" Target="https://docs.microsoft.com/en-in/azure/sentinel/" TargetMode="External"/><Relationship Id="rId56" Type="http://schemas.openxmlformats.org/officeDocument/2006/relationships/image" Target="../media/image81.svg"/><Relationship Id="rId77" Type="http://schemas.openxmlformats.org/officeDocument/2006/relationships/image" Target="../media/image332.png"/><Relationship Id="rId100" Type="http://schemas.openxmlformats.org/officeDocument/2006/relationships/image" Target="../media/image344.svg"/><Relationship Id="rId105" Type="http://schemas.openxmlformats.org/officeDocument/2006/relationships/image" Target="../media/image347.png"/><Relationship Id="rId126" Type="http://schemas.openxmlformats.org/officeDocument/2006/relationships/image" Target="../media/image232.png"/><Relationship Id="rId8" Type="http://schemas.openxmlformats.org/officeDocument/2006/relationships/image" Target="../media/image303.png"/><Relationship Id="rId51" Type="http://schemas.openxmlformats.org/officeDocument/2006/relationships/hyperlink" Target="https://docs.microsoft.com/en-in/azure/application-insights/" TargetMode="External"/><Relationship Id="rId72" Type="http://schemas.openxmlformats.org/officeDocument/2006/relationships/image" Target="../media/image328.png"/><Relationship Id="rId93" Type="http://schemas.openxmlformats.org/officeDocument/2006/relationships/image" Target="../media/image340.svg"/><Relationship Id="rId98" Type="http://schemas.openxmlformats.org/officeDocument/2006/relationships/hyperlink" Target="https://docs.microsoft.com/en-in/azure/advisor" TargetMode="External"/><Relationship Id="rId121" Type="http://schemas.openxmlformats.org/officeDocument/2006/relationships/image" Target="../media/image49.png"/><Relationship Id="rId3" Type="http://schemas.openxmlformats.org/officeDocument/2006/relationships/slideLayout" Target="../slideLayouts/slideLayout2.xml"/><Relationship Id="rId25" Type="http://schemas.openxmlformats.org/officeDocument/2006/relationships/hyperlink" Target="https://docs.microsoft.com/en-in/azure/asc-for-iot/" TargetMode="External"/><Relationship Id="rId46" Type="http://schemas.openxmlformats.org/officeDocument/2006/relationships/image" Target="../media/image317.png"/><Relationship Id="rId67" Type="http://schemas.openxmlformats.org/officeDocument/2006/relationships/image" Target="../media/image327.svg"/><Relationship Id="rId116" Type="http://schemas.openxmlformats.org/officeDocument/2006/relationships/image" Target="../media/image350.svg"/><Relationship Id="rId137" Type="http://schemas.openxmlformats.org/officeDocument/2006/relationships/hyperlink" Target="https://docs.microsoft.com/en-us/azure/azure-arc/" TargetMode="External"/><Relationship Id="rId20" Type="http://schemas.openxmlformats.org/officeDocument/2006/relationships/image" Target="../media/image307.png"/><Relationship Id="rId41" Type="http://schemas.openxmlformats.org/officeDocument/2006/relationships/hyperlink" Target="https://docs.microsoft.com/en-in/azure/active-directory-b2c" TargetMode="External"/><Relationship Id="rId62" Type="http://schemas.openxmlformats.org/officeDocument/2006/relationships/hyperlink" Target="https://docs.microsoft.com/en-in/azure/devops-project" TargetMode="External"/><Relationship Id="rId83" Type="http://schemas.openxmlformats.org/officeDocument/2006/relationships/image" Target="../media/image186.png"/><Relationship Id="rId88" Type="http://schemas.openxmlformats.org/officeDocument/2006/relationships/hyperlink" Target="https://docs.microsoft.com/en-in/azure/governance/resource-graph/" TargetMode="External"/><Relationship Id="rId111" Type="http://schemas.openxmlformats.org/officeDocument/2006/relationships/hyperlink" Target="https://docs.microsoft.com/en-in/azure/traffic-manager/" TargetMode="External"/><Relationship Id="rId132" Type="http://schemas.openxmlformats.org/officeDocument/2006/relationships/hyperlink" Target="https://docs.microsoft.com/en-in/azure/cost-management/" TargetMode="External"/><Relationship Id="rId15" Type="http://schemas.openxmlformats.org/officeDocument/2006/relationships/image" Target="../media/image31.svg"/><Relationship Id="rId36" Type="http://schemas.openxmlformats.org/officeDocument/2006/relationships/hyperlink" Target="https://docs.microsoft.com/en-in/azure/key-vault/" TargetMode="External"/><Relationship Id="rId57" Type="http://schemas.openxmlformats.org/officeDocument/2006/relationships/hyperlink" Target="https://docs.microsoft.com/en-in/azure/devops/" TargetMode="External"/><Relationship Id="rId106" Type="http://schemas.openxmlformats.org/officeDocument/2006/relationships/image" Target="../media/image348.svg"/><Relationship Id="rId127" Type="http://schemas.openxmlformats.org/officeDocument/2006/relationships/hyperlink" Target="https://docs.microsoft.com/en-in/azure/azure-portal/" TargetMode="External"/><Relationship Id="rId10" Type="http://schemas.openxmlformats.org/officeDocument/2006/relationships/hyperlink" Target="https://docs.microsoft.com/en-in/azure/application-gateway/" TargetMode="External"/><Relationship Id="rId31" Type="http://schemas.openxmlformats.org/officeDocument/2006/relationships/hyperlink" Target="https://docs.microsoft.com/en-in/azure/information-protection/" TargetMode="External"/><Relationship Id="rId52" Type="http://schemas.openxmlformats.org/officeDocument/2006/relationships/image" Target="../media/image321.png"/><Relationship Id="rId73" Type="http://schemas.openxmlformats.org/officeDocument/2006/relationships/image" Target="../media/image329.svg"/><Relationship Id="rId78" Type="http://schemas.openxmlformats.org/officeDocument/2006/relationships/image" Target="../media/image333.svg"/><Relationship Id="rId94" Type="http://schemas.openxmlformats.org/officeDocument/2006/relationships/hyperlink" Target="https://docs.microsoft.com/en-in/azure/migrate/migrate-overview" TargetMode="External"/><Relationship Id="rId99" Type="http://schemas.openxmlformats.org/officeDocument/2006/relationships/image" Target="../media/image343.png"/><Relationship Id="rId101" Type="http://schemas.openxmlformats.org/officeDocument/2006/relationships/hyperlink" Target="https://docs.microsoft.com/en-in/azure/automation/" TargetMode="External"/><Relationship Id="rId122" Type="http://schemas.openxmlformats.org/officeDocument/2006/relationships/image" Target="../media/image353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04.svg"/><Relationship Id="rId26" Type="http://schemas.openxmlformats.org/officeDocument/2006/relationships/image" Target="../media/image309.png"/><Relationship Id="rId47" Type="http://schemas.openxmlformats.org/officeDocument/2006/relationships/image" Target="../media/image318.svg"/><Relationship Id="rId68" Type="http://schemas.openxmlformats.org/officeDocument/2006/relationships/hyperlink" Target="https://docs.microsoft.com/en-in/azure/site-recovery/" TargetMode="External"/><Relationship Id="rId89" Type="http://schemas.openxmlformats.org/officeDocument/2006/relationships/image" Target="../media/image337.png"/><Relationship Id="rId112" Type="http://schemas.openxmlformats.org/officeDocument/2006/relationships/image" Target="../media/image38.png"/><Relationship Id="rId133" Type="http://schemas.openxmlformats.org/officeDocument/2006/relationships/hyperlink" Target="https://azure.microsoft.com/features/azure-portal/mobile-app/" TargetMode="Externa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hyperlink" Target="https://docs.microsoft.com/en-in/azure/cognitive-services/Anomaly-Detector/overview" TargetMode="External"/><Relationship Id="rId21" Type="http://schemas.openxmlformats.org/officeDocument/2006/relationships/image" Target="../media/image359.png"/><Relationship Id="rId42" Type="http://schemas.openxmlformats.org/officeDocument/2006/relationships/hyperlink" Target="https://docs.microsoft.com/en-in/azure/event-hubs/" TargetMode="External"/><Relationship Id="rId63" Type="http://schemas.openxmlformats.org/officeDocument/2006/relationships/image" Target="../media/image367.png"/><Relationship Id="rId84" Type="http://schemas.openxmlformats.org/officeDocument/2006/relationships/image" Target="../media/image143.png"/><Relationship Id="rId138" Type="http://schemas.openxmlformats.org/officeDocument/2006/relationships/hyperlink" Target="https://docs.microsoft.com/en-in/azure/cognitive-services/video-indexer/video-indexer-overview" TargetMode="External"/><Relationship Id="rId107" Type="http://schemas.openxmlformats.org/officeDocument/2006/relationships/hyperlink" Target="https://docs.microsoft.com/en-in/azure/cognitive-services/text-analytics/" TargetMode="External"/><Relationship Id="rId11" Type="http://schemas.openxmlformats.org/officeDocument/2006/relationships/hyperlink" Target="https://docs.microsoft.com/en-in/azure/sql-server-stretch-database/" TargetMode="External"/><Relationship Id="rId32" Type="http://schemas.openxmlformats.org/officeDocument/2006/relationships/image" Target="../media/image248.png"/><Relationship Id="rId53" Type="http://schemas.openxmlformats.org/officeDocument/2006/relationships/hyperlink" Target="https://docs.microsoft.com/en-in/azure/data-catalog/" TargetMode="External"/><Relationship Id="rId74" Type="http://schemas.openxmlformats.org/officeDocument/2006/relationships/image" Target="../media/image133.png"/><Relationship Id="rId128" Type="http://schemas.openxmlformats.org/officeDocument/2006/relationships/hyperlink" Target="https://docs.microsoft.com/bot-framework/bot-service-overview-introduction" TargetMode="External"/><Relationship Id="rId149" Type="http://schemas.openxmlformats.org/officeDocument/2006/relationships/image" Target="../media/image148.svg"/><Relationship Id="rId5" Type="http://schemas.openxmlformats.org/officeDocument/2006/relationships/oleObject" Target="../embeddings/oleObject5.bin"/><Relationship Id="rId95" Type="http://schemas.openxmlformats.org/officeDocument/2006/relationships/image" Target="../media/image159.png"/><Relationship Id="rId22" Type="http://schemas.openxmlformats.org/officeDocument/2006/relationships/image" Target="../media/image360.png"/><Relationship Id="rId27" Type="http://schemas.openxmlformats.org/officeDocument/2006/relationships/image" Target="../media/image362.png"/><Relationship Id="rId43" Type="http://schemas.openxmlformats.org/officeDocument/2006/relationships/hyperlink" Target="https://docs.microsoft.com/en-in/azure/analysis-services/" TargetMode="External"/><Relationship Id="rId48" Type="http://schemas.openxmlformats.org/officeDocument/2006/relationships/hyperlink" Target="https://docs.microsoft.com/en-in/azure/data-explorer/" TargetMode="External"/><Relationship Id="rId64" Type="http://schemas.openxmlformats.org/officeDocument/2006/relationships/image" Target="../media/image113.png"/><Relationship Id="rId69" Type="http://schemas.openxmlformats.org/officeDocument/2006/relationships/hyperlink" Target="https://docs.microsoft.com/en-in/azure/data-share/" TargetMode="External"/><Relationship Id="rId113" Type="http://schemas.openxmlformats.org/officeDocument/2006/relationships/hyperlink" Target="https://docs.microsoft.com/en-in/azure/cognitive-services/kes/overview" TargetMode="External"/><Relationship Id="rId118" Type="http://schemas.openxmlformats.org/officeDocument/2006/relationships/hyperlink" Target="https://docs.microsoft.com/en-in/azure/cognitive-services/labs/conversation-learner/overview" TargetMode="External"/><Relationship Id="rId134" Type="http://schemas.openxmlformats.org/officeDocument/2006/relationships/hyperlink" Target="https://docs.microsoft.com/en-in/azure/cognitive-services/computer-vision/" TargetMode="External"/><Relationship Id="rId139" Type="http://schemas.openxmlformats.org/officeDocument/2006/relationships/hyperlink" Target="https://docs.microsoft.com/en-in/azure/cognitive-services/speech-service/overview" TargetMode="External"/><Relationship Id="rId80" Type="http://schemas.openxmlformats.org/officeDocument/2006/relationships/image" Target="../media/image139.png"/><Relationship Id="rId85" Type="http://schemas.openxmlformats.org/officeDocument/2006/relationships/image" Target="../media/image144.png"/><Relationship Id="rId150" Type="http://schemas.openxmlformats.org/officeDocument/2006/relationships/image" Target="../media/image149.png"/><Relationship Id="rId155" Type="http://schemas.openxmlformats.org/officeDocument/2006/relationships/hyperlink" Target="https://docs.microsoft.com/en-in/azure/cognitive-services/personalizer/" TargetMode="External"/><Relationship Id="rId12" Type="http://schemas.openxmlformats.org/officeDocument/2006/relationships/hyperlink" Target="https://docs.microsoft.com/en-in/azure/cosmos-db/table-storage-overview" TargetMode="External"/><Relationship Id="rId17" Type="http://schemas.openxmlformats.org/officeDocument/2006/relationships/hyperlink" Target="https://docs.microsoft.com/en-in/azure/mariadb/" TargetMode="External"/><Relationship Id="rId33" Type="http://schemas.openxmlformats.org/officeDocument/2006/relationships/hyperlink" Target="https://docs.microsoft.com/en-in/azure/sql-database-edge/" TargetMode="External"/><Relationship Id="rId38" Type="http://schemas.openxmlformats.org/officeDocument/2006/relationships/hyperlink" Target="https://docs.microsoft.com/en-in/azure/china/" TargetMode="External"/><Relationship Id="rId59" Type="http://schemas.openxmlformats.org/officeDocument/2006/relationships/image" Target="../media/image108.png"/><Relationship Id="rId103" Type="http://schemas.openxmlformats.org/officeDocument/2006/relationships/image" Target="../media/image167.png"/><Relationship Id="rId108" Type="http://schemas.openxmlformats.org/officeDocument/2006/relationships/hyperlink" Target="https://docs.microsoft.com/en-in/azure/cognitive-services/translator/" TargetMode="External"/><Relationship Id="rId124" Type="http://schemas.openxmlformats.org/officeDocument/2006/relationships/hyperlink" Target="https://docs.microsoft.com/en-in/azure/cognitive-services/bing-custom-search/" TargetMode="External"/><Relationship Id="rId129" Type="http://schemas.openxmlformats.org/officeDocument/2006/relationships/hyperlink" Target="https://docs.microsoft.com/en-in/azure/cognitive-services/welcome" TargetMode="External"/><Relationship Id="rId54" Type="http://schemas.openxmlformats.org/officeDocument/2006/relationships/hyperlink" Target="https://docs.microsoft.com/en-in/azure/open-datasets" TargetMode="External"/><Relationship Id="rId70" Type="http://schemas.openxmlformats.org/officeDocument/2006/relationships/image" Target="../media/image129.png"/><Relationship Id="rId75" Type="http://schemas.openxmlformats.org/officeDocument/2006/relationships/image" Target="../media/image134.png"/><Relationship Id="rId91" Type="http://schemas.openxmlformats.org/officeDocument/2006/relationships/image" Target="../media/image155.png"/><Relationship Id="rId96" Type="http://schemas.openxmlformats.org/officeDocument/2006/relationships/image" Target="../media/image160.png"/><Relationship Id="rId140" Type="http://schemas.openxmlformats.org/officeDocument/2006/relationships/hyperlink" Target="https://docs.microsoft.com/en-in/azure/cognitive-services/speech/home" TargetMode="External"/><Relationship Id="rId145" Type="http://schemas.openxmlformats.org/officeDocument/2006/relationships/hyperlink" Target="https://docs.microsoft.com/en-in/azure/cognitive-services/luis/" TargetMode="Externa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23" Type="http://schemas.openxmlformats.org/officeDocument/2006/relationships/image" Target="../media/image213.png"/><Relationship Id="rId28" Type="http://schemas.openxmlformats.org/officeDocument/2006/relationships/image" Target="../media/image363.png"/><Relationship Id="rId49" Type="http://schemas.openxmlformats.org/officeDocument/2006/relationships/hyperlink" Target="https://docs.microsoft.com/en-in/azure/hdinsight/spark/apache-spark-overview" TargetMode="External"/><Relationship Id="rId114" Type="http://schemas.openxmlformats.org/officeDocument/2006/relationships/hyperlink" Target="https://docs.microsoft.com/en-in/azure/cognitive-services/academic-knowledge/home" TargetMode="External"/><Relationship Id="rId119" Type="http://schemas.openxmlformats.org/officeDocument/2006/relationships/hyperlink" Target="https://docs.microsoft.com/en-in/azure/cognitive-services/bing-news-search/" TargetMode="External"/><Relationship Id="rId44" Type="http://schemas.openxmlformats.org/officeDocument/2006/relationships/hyperlink" Target="https://docs.microsoft.com/en-in/azure/data-lake-analytics/" TargetMode="External"/><Relationship Id="rId60" Type="http://schemas.openxmlformats.org/officeDocument/2006/relationships/image" Target="../media/image109.png"/><Relationship Id="rId65" Type="http://schemas.openxmlformats.org/officeDocument/2006/relationships/image" Target="../media/image115.png"/><Relationship Id="rId81" Type="http://schemas.openxmlformats.org/officeDocument/2006/relationships/image" Target="../media/image140.png"/><Relationship Id="rId86" Type="http://schemas.openxmlformats.org/officeDocument/2006/relationships/image" Target="../media/image145.png"/><Relationship Id="rId130" Type="http://schemas.openxmlformats.org/officeDocument/2006/relationships/hyperlink" Target="https://docs.microsoft.com/en-in/azure/machine-learning/studio" TargetMode="External"/><Relationship Id="rId135" Type="http://schemas.openxmlformats.org/officeDocument/2006/relationships/hyperlink" Target="https://docs.microsoft.com/en-in/azure/cognitive-services/content-moderator/overview" TargetMode="External"/><Relationship Id="rId151" Type="http://schemas.openxmlformats.org/officeDocument/2006/relationships/image" Target="../media/image368.svg"/><Relationship Id="rId13" Type="http://schemas.openxmlformats.org/officeDocument/2006/relationships/hyperlink" Target="https://docs.microsoft.com/en-in/azure/sql-database/" TargetMode="External"/><Relationship Id="rId18" Type="http://schemas.openxmlformats.org/officeDocument/2006/relationships/hyperlink" Target="https://docs.microsoft.com/en-in/azure/dms/dms-overview" TargetMode="External"/><Relationship Id="rId39" Type="http://schemas.openxmlformats.org/officeDocument/2006/relationships/hyperlink" Target="https://docs.microsoft.com/en-in/azure/azure-databricks/" TargetMode="External"/><Relationship Id="rId109" Type="http://schemas.openxmlformats.org/officeDocument/2006/relationships/hyperlink" Target="https://docs.microsoft.com/en-in/azure/cognitive-services/web-language-model/home" TargetMode="External"/><Relationship Id="rId34" Type="http://schemas.openxmlformats.org/officeDocument/2006/relationships/image" Target="../media/image249.png"/><Relationship Id="rId50" Type="http://schemas.openxmlformats.org/officeDocument/2006/relationships/hyperlink" Target="https://docs.microsoft.com/en-in/azure/hdinsight/storm/apache-storm-overview" TargetMode="External"/><Relationship Id="rId55" Type="http://schemas.openxmlformats.org/officeDocument/2006/relationships/image" Target="../media/image365.png"/><Relationship Id="rId76" Type="http://schemas.openxmlformats.org/officeDocument/2006/relationships/image" Target="../media/image135.png"/><Relationship Id="rId97" Type="http://schemas.openxmlformats.org/officeDocument/2006/relationships/image" Target="../media/image161.png"/><Relationship Id="rId104" Type="http://schemas.openxmlformats.org/officeDocument/2006/relationships/image" Target="../media/image168.png"/><Relationship Id="rId120" Type="http://schemas.openxmlformats.org/officeDocument/2006/relationships/hyperlink" Target="https://docs.microsoft.com/en-in/azure/cognitive-services/Bing-Video-Search/" TargetMode="External"/><Relationship Id="rId125" Type="http://schemas.openxmlformats.org/officeDocument/2006/relationships/hyperlink" Target="https://docs.microsoft.com/en-in/azure/cognitive-services/bing-entities-search/" TargetMode="External"/><Relationship Id="rId141" Type="http://schemas.openxmlformats.org/officeDocument/2006/relationships/hyperlink" Target="https://docs.microsoft.com/en-in/azure/cognitive-services/custom-speech-service/cognitive-services-custom-speech-home" TargetMode="External"/><Relationship Id="rId146" Type="http://schemas.openxmlformats.org/officeDocument/2006/relationships/hyperlink" Target="https://docs.microsoft.com/en-in/azure/cognitive-services/linguisticanalysisapi/home" TargetMode="External"/><Relationship Id="rId7" Type="http://schemas.openxmlformats.org/officeDocument/2006/relationships/image" Target="../media/image100.png"/><Relationship Id="rId71" Type="http://schemas.openxmlformats.org/officeDocument/2006/relationships/image" Target="../media/image130.png"/><Relationship Id="rId92" Type="http://schemas.openxmlformats.org/officeDocument/2006/relationships/image" Target="../media/image156.png"/><Relationship Id="rId2" Type="http://schemas.openxmlformats.org/officeDocument/2006/relationships/tags" Target="../tags/tag6.xml"/><Relationship Id="rId29" Type="http://schemas.openxmlformats.org/officeDocument/2006/relationships/image" Target="../media/image237.png"/><Relationship Id="rId24" Type="http://schemas.openxmlformats.org/officeDocument/2006/relationships/image" Target="../media/image102.png"/><Relationship Id="rId40" Type="http://schemas.openxmlformats.org/officeDocument/2006/relationships/hyperlink" Target="https://docs.microsoft.com/en-in/azure/hdinsight/" TargetMode="External"/><Relationship Id="rId45" Type="http://schemas.openxmlformats.org/officeDocument/2006/relationships/hyperlink" Target="https://docs.microsoft.com/en-in/azure/storage/blobs/data-lake-storage-introduction" TargetMode="External"/><Relationship Id="rId66" Type="http://schemas.openxmlformats.org/officeDocument/2006/relationships/image" Target="../media/image116.png"/><Relationship Id="rId87" Type="http://schemas.openxmlformats.org/officeDocument/2006/relationships/image" Target="../media/image151.png"/><Relationship Id="rId110" Type="http://schemas.openxmlformats.org/officeDocument/2006/relationships/hyperlink" Target="https://docs.microsoft.com/en-in/azure/cognitive-services/custom-decision-service/custom-decision-service-overview" TargetMode="External"/><Relationship Id="rId115" Type="http://schemas.openxmlformats.org/officeDocument/2006/relationships/hyperlink" Target="https://docs.microsoft.com/en-in/azure/cognitive-services/entitylinking/home" TargetMode="External"/><Relationship Id="rId131" Type="http://schemas.openxmlformats.org/officeDocument/2006/relationships/hyperlink" Target="https://docs.microsoft.com/en-in/azure/genomics/" TargetMode="External"/><Relationship Id="rId136" Type="http://schemas.openxmlformats.org/officeDocument/2006/relationships/hyperlink" Target="https://docs.microsoft.com/en-in/azure/cognitive-services/Custom-Vision-Service/home" TargetMode="External"/><Relationship Id="rId61" Type="http://schemas.openxmlformats.org/officeDocument/2006/relationships/image" Target="../media/image366.png"/><Relationship Id="rId82" Type="http://schemas.openxmlformats.org/officeDocument/2006/relationships/image" Target="../media/image141.png"/><Relationship Id="rId152" Type="http://schemas.openxmlformats.org/officeDocument/2006/relationships/image" Target="../media/image256.png"/><Relationship Id="rId19" Type="http://schemas.openxmlformats.org/officeDocument/2006/relationships/hyperlink" Target="https://docs.microsoft.com/en-in/azure/data-explorer" TargetMode="External"/><Relationship Id="rId14" Type="http://schemas.openxmlformats.org/officeDocument/2006/relationships/hyperlink" Target="https://docs.microsoft.com/en-in/azure/cosmos-db/" TargetMode="External"/><Relationship Id="rId30" Type="http://schemas.openxmlformats.org/officeDocument/2006/relationships/image" Target="../media/image112.png"/><Relationship Id="rId35" Type="http://schemas.openxmlformats.org/officeDocument/2006/relationships/hyperlink" Target="https://docs.microsoft.com/en-in/azure/sql-data-warehouse/" TargetMode="External"/><Relationship Id="rId56" Type="http://schemas.openxmlformats.org/officeDocument/2006/relationships/image" Target="../media/image105.png"/><Relationship Id="rId77" Type="http://schemas.openxmlformats.org/officeDocument/2006/relationships/image" Target="../media/image136.png"/><Relationship Id="rId100" Type="http://schemas.openxmlformats.org/officeDocument/2006/relationships/image" Target="../media/image164.png"/><Relationship Id="rId105" Type="http://schemas.openxmlformats.org/officeDocument/2006/relationships/image" Target="../media/image169.png"/><Relationship Id="rId126" Type="http://schemas.openxmlformats.org/officeDocument/2006/relationships/hyperlink" Target="https://docs.microsoft.com/en-in/azure/cognitive-services/bing-image-search/" TargetMode="External"/><Relationship Id="rId147" Type="http://schemas.openxmlformats.org/officeDocument/2006/relationships/image" Target="../media/image146.emf"/><Relationship Id="rId8" Type="http://schemas.openxmlformats.org/officeDocument/2006/relationships/image" Target="../media/image358.svg"/><Relationship Id="rId51" Type="http://schemas.openxmlformats.org/officeDocument/2006/relationships/hyperlink" Target="https://docs.microsoft.com/en-in/azure/hdinsight/r-server/r-server-overview" TargetMode="External"/><Relationship Id="rId72" Type="http://schemas.openxmlformats.org/officeDocument/2006/relationships/image" Target="../media/image131.png"/><Relationship Id="rId93" Type="http://schemas.openxmlformats.org/officeDocument/2006/relationships/image" Target="../media/image157.png"/><Relationship Id="rId98" Type="http://schemas.openxmlformats.org/officeDocument/2006/relationships/image" Target="../media/image162.png"/><Relationship Id="rId121" Type="http://schemas.openxmlformats.org/officeDocument/2006/relationships/hyperlink" Target="https://docs.microsoft.com/en-in/azure/cognitive-services/bing-web-search/" TargetMode="External"/><Relationship Id="rId142" Type="http://schemas.openxmlformats.org/officeDocument/2006/relationships/hyperlink" Target="https://docs.microsoft.com/en-in/azure/cognitive-services/speaker-recognition/home" TargetMode="External"/><Relationship Id="rId3" Type="http://schemas.openxmlformats.org/officeDocument/2006/relationships/slideLayout" Target="../slideLayouts/slideLayout2.xml"/><Relationship Id="rId25" Type="http://schemas.openxmlformats.org/officeDocument/2006/relationships/image" Target="../media/image103.svg"/><Relationship Id="rId46" Type="http://schemas.openxmlformats.org/officeDocument/2006/relationships/hyperlink" Target="https://docs.microsoft.com/en-in/azure/data-lake-store/" TargetMode="External"/><Relationship Id="rId67" Type="http://schemas.openxmlformats.org/officeDocument/2006/relationships/image" Target="../media/image117.png"/><Relationship Id="rId116" Type="http://schemas.openxmlformats.org/officeDocument/2006/relationships/hyperlink" Target="https://docs.microsoft.com/en-in/azure/cognitive-services/labs/answer-search/overview" TargetMode="External"/><Relationship Id="rId137" Type="http://schemas.openxmlformats.org/officeDocument/2006/relationships/hyperlink" Target="https://docs.microsoft.com/en-in/azure/cognitive-services/emotion/home" TargetMode="External"/><Relationship Id="rId20" Type="http://schemas.openxmlformats.org/officeDocument/2006/relationships/hyperlink" Target="https://docs.microsoft.com/en-in/azure/data-factory/" TargetMode="External"/><Relationship Id="rId41" Type="http://schemas.openxmlformats.org/officeDocument/2006/relationships/hyperlink" Target="https://docs.microsoft.com/en-in/azure/stream-analytics/" TargetMode="External"/><Relationship Id="rId62" Type="http://schemas.openxmlformats.org/officeDocument/2006/relationships/hyperlink" Target="https://www.google.com/url?sa=i&amp;source=images&amp;cd=&amp;cad=rja&amp;uact=8&amp;ved=2ahUKEwiQ5aKCq7PbAhWLrFQKHQXYC-YQjRx6BAgBEAU&amp;url=https://azure.microsoft.com/en-us/services/analysis-services/&amp;psig=AOvVaw3ZUC3uvTZQp7oOxRqReF-E&amp;ust=1527972432002714" TargetMode="External"/><Relationship Id="rId83" Type="http://schemas.openxmlformats.org/officeDocument/2006/relationships/image" Target="../media/image142.png"/><Relationship Id="rId88" Type="http://schemas.openxmlformats.org/officeDocument/2006/relationships/image" Target="../media/image152.png"/><Relationship Id="rId111" Type="http://schemas.openxmlformats.org/officeDocument/2006/relationships/hyperlink" Target="https://docs.microsoft.com/en-in/azure/cognitive-services/qnamaker/home" TargetMode="External"/><Relationship Id="rId132" Type="http://schemas.openxmlformats.org/officeDocument/2006/relationships/hyperlink" Target="https://docs.microsoft.com/en-in/azure/notebooks" TargetMode="External"/><Relationship Id="rId153" Type="http://schemas.openxmlformats.org/officeDocument/2006/relationships/hyperlink" Target="https://docs.microsoft.com/en-us/azure/cognitive-services/form-recognizer/" TargetMode="External"/><Relationship Id="rId15" Type="http://schemas.openxmlformats.org/officeDocument/2006/relationships/hyperlink" Target="https://docs.microsoft.com/en-in/azure/azure-cache-for-redis/" TargetMode="External"/><Relationship Id="rId36" Type="http://schemas.openxmlformats.org/officeDocument/2006/relationships/hyperlink" Target="https://docs.microsoft.com/en-in/azure/azure-government/" TargetMode="External"/><Relationship Id="rId57" Type="http://schemas.openxmlformats.org/officeDocument/2006/relationships/image" Target="../media/image106.png"/><Relationship Id="rId106" Type="http://schemas.openxmlformats.org/officeDocument/2006/relationships/image" Target="../media/image170.png"/><Relationship Id="rId127" Type="http://schemas.openxmlformats.org/officeDocument/2006/relationships/hyperlink" Target="https://docs.microsoft.com/en-in/azure/machine-learning/service" TargetMode="External"/><Relationship Id="rId10" Type="http://schemas.openxmlformats.org/officeDocument/2006/relationships/hyperlink" Target="https://docs.microsoft.com/en-in/azure/postgresql/" TargetMode="External"/><Relationship Id="rId31" Type="http://schemas.openxmlformats.org/officeDocument/2006/relationships/image" Target="../media/image364.png"/><Relationship Id="rId52" Type="http://schemas.openxmlformats.org/officeDocument/2006/relationships/hyperlink" Target="https://docs.microsoft.com/en-in/azure/log-analytics/" TargetMode="External"/><Relationship Id="rId73" Type="http://schemas.openxmlformats.org/officeDocument/2006/relationships/image" Target="../media/image132.png"/><Relationship Id="rId78" Type="http://schemas.openxmlformats.org/officeDocument/2006/relationships/image" Target="../media/image137.png"/><Relationship Id="rId94" Type="http://schemas.openxmlformats.org/officeDocument/2006/relationships/image" Target="../media/image158.png"/><Relationship Id="rId99" Type="http://schemas.openxmlformats.org/officeDocument/2006/relationships/image" Target="../media/image163.png"/><Relationship Id="rId101" Type="http://schemas.openxmlformats.org/officeDocument/2006/relationships/image" Target="../media/image165.png"/><Relationship Id="rId122" Type="http://schemas.openxmlformats.org/officeDocument/2006/relationships/hyperlink" Target="https://docs.microsoft.com/en-in/azure/cognitive-services/bing-visual-search/" TargetMode="External"/><Relationship Id="rId143" Type="http://schemas.openxmlformats.org/officeDocument/2006/relationships/hyperlink" Target="https://docs.microsoft.com/en-in/azure/cognitive-services/translator-speech/" TargetMode="External"/><Relationship Id="rId148" Type="http://schemas.openxmlformats.org/officeDocument/2006/relationships/image" Target="../media/image147.png"/><Relationship Id="rId4" Type="http://schemas.openxmlformats.org/officeDocument/2006/relationships/notesSlide" Target="../notesSlides/notesSlide4.xml"/><Relationship Id="rId9" Type="http://schemas.openxmlformats.org/officeDocument/2006/relationships/hyperlink" Target="https://docs.microsoft.com/en-in/azure/mysql/" TargetMode="External"/><Relationship Id="rId26" Type="http://schemas.openxmlformats.org/officeDocument/2006/relationships/image" Target="../media/image361.png"/><Relationship Id="rId47" Type="http://schemas.openxmlformats.org/officeDocument/2006/relationships/hyperlink" Target="https://docs.microsoft.com/en-in/azure/power-bi-embedded/" TargetMode="External"/><Relationship Id="rId68" Type="http://schemas.openxmlformats.org/officeDocument/2006/relationships/image" Target="../media/image240.png"/><Relationship Id="rId89" Type="http://schemas.openxmlformats.org/officeDocument/2006/relationships/image" Target="../media/image153.png"/><Relationship Id="rId112" Type="http://schemas.openxmlformats.org/officeDocument/2006/relationships/hyperlink" Target="https://docs.microsoft.com/en-in/azure/cognitive-services/recommendations/overview" TargetMode="External"/><Relationship Id="rId133" Type="http://schemas.openxmlformats.org/officeDocument/2006/relationships/hyperlink" Target="https://docs.microsoft.com/en-in/azure/search/" TargetMode="External"/><Relationship Id="rId154" Type="http://schemas.openxmlformats.org/officeDocument/2006/relationships/image" Target="../media/image257.png"/><Relationship Id="rId16" Type="http://schemas.openxmlformats.org/officeDocument/2006/relationships/hyperlink" Target="https://docs.microsoft.com/en-in/azure/virtual-machines/windows/sql/virtual-machines-windows-sql-server-iaas-overview?toc=%2Fazure%2Fvirtual-machines%2Fwindows%2Ftoc.json" TargetMode="External"/><Relationship Id="rId37" Type="http://schemas.openxmlformats.org/officeDocument/2006/relationships/hyperlink" Target="https://docs.microsoft.com/en-in/azure/germany/" TargetMode="External"/><Relationship Id="rId58" Type="http://schemas.openxmlformats.org/officeDocument/2006/relationships/image" Target="../media/image107.png"/><Relationship Id="rId79" Type="http://schemas.openxmlformats.org/officeDocument/2006/relationships/image" Target="../media/image138.png"/><Relationship Id="rId102" Type="http://schemas.openxmlformats.org/officeDocument/2006/relationships/image" Target="../media/image166.png"/><Relationship Id="rId123" Type="http://schemas.openxmlformats.org/officeDocument/2006/relationships/hyperlink" Target="https://docs.microsoft.com/en-in/azure/cognitive-services/Bing-Autosuggest/" TargetMode="External"/><Relationship Id="rId144" Type="http://schemas.openxmlformats.org/officeDocument/2006/relationships/hyperlink" Target="https://docs.microsoft.com/en-in/azure/cognitive-services/bing-spell-check/" TargetMode="External"/><Relationship Id="rId90" Type="http://schemas.openxmlformats.org/officeDocument/2006/relationships/image" Target="../media/image154.pn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76.png"/><Relationship Id="rId21" Type="http://schemas.openxmlformats.org/officeDocument/2006/relationships/image" Target="../media/image373.png"/><Relationship Id="rId42" Type="http://schemas.openxmlformats.org/officeDocument/2006/relationships/hyperlink" Target="https://docs.microsoft.com/en-in/azure/media-services/media-services-content-protection-overview" TargetMode="External"/><Relationship Id="rId47" Type="http://schemas.openxmlformats.org/officeDocument/2006/relationships/hyperlink" Target="https://docs.microsoft.com/en-in/azure/service-bus/" TargetMode="External"/><Relationship Id="rId63" Type="http://schemas.openxmlformats.org/officeDocument/2006/relationships/image" Target="../media/image200.png"/><Relationship Id="rId68" Type="http://schemas.openxmlformats.org/officeDocument/2006/relationships/hyperlink" Target="https://docs.microsoft.com/en-in/azure/iot-dps/" TargetMode="External"/><Relationship Id="rId84" Type="http://schemas.openxmlformats.org/officeDocument/2006/relationships/image" Target="../media/image381.png"/><Relationship Id="rId89" Type="http://schemas.openxmlformats.org/officeDocument/2006/relationships/hyperlink" Target="https://docs.microsoft.com/en-in/azure/iot-pnp/" TargetMode="External"/><Relationship Id="rId16" Type="http://schemas.openxmlformats.org/officeDocument/2006/relationships/image" Target="../media/image71.png"/><Relationship Id="rId11" Type="http://schemas.openxmlformats.org/officeDocument/2006/relationships/hyperlink" Target="https://docs.microsoft.com/en-in/azure/azure-signalr/" TargetMode="External"/><Relationship Id="rId32" Type="http://schemas.openxmlformats.org/officeDocument/2006/relationships/hyperlink" Target="https://azure.microsoft.com/features/xamarin" TargetMode="External"/><Relationship Id="rId37" Type="http://schemas.openxmlformats.org/officeDocument/2006/relationships/image" Target="../media/image195.png"/><Relationship Id="rId53" Type="http://schemas.openxmlformats.org/officeDocument/2006/relationships/image" Target="../media/image238.png"/><Relationship Id="rId58" Type="http://schemas.openxmlformats.org/officeDocument/2006/relationships/hyperlink" Target="https://docs.microsoft.com/en-in/azure/Kinect-dk/" TargetMode="External"/><Relationship Id="rId74" Type="http://schemas.openxmlformats.org/officeDocument/2006/relationships/image" Target="../media/image106.png"/><Relationship Id="rId79" Type="http://schemas.openxmlformats.org/officeDocument/2006/relationships/hyperlink" Target="https://docs.microsoft.com/en-in/azure/iot-fundamentals" TargetMode="External"/><Relationship Id="rId5" Type="http://schemas.openxmlformats.org/officeDocument/2006/relationships/oleObject" Target="../embeddings/oleObject6.bin"/><Relationship Id="rId14" Type="http://schemas.openxmlformats.org/officeDocument/2006/relationships/image" Target="../media/image369.png"/><Relationship Id="rId22" Type="http://schemas.microsoft.com/office/2007/relationships/hdphoto" Target="../media/hdphoto2.wdp"/><Relationship Id="rId27" Type="http://schemas.openxmlformats.org/officeDocument/2006/relationships/image" Target="../media/image180.png"/><Relationship Id="rId30" Type="http://schemas.openxmlformats.org/officeDocument/2006/relationships/hyperlink" Target="https://docs.microsoft.com/en-in/azure/azure-maps/" TargetMode="External"/><Relationship Id="rId35" Type="http://schemas.openxmlformats.org/officeDocument/2006/relationships/image" Target="../media/image194.png"/><Relationship Id="rId43" Type="http://schemas.openxmlformats.org/officeDocument/2006/relationships/hyperlink" Target="https://docs.microsoft.com/en-in/azure/media-services/media-services-analytics-overview" TargetMode="External"/><Relationship Id="rId48" Type="http://schemas.openxmlformats.org/officeDocument/2006/relationships/hyperlink" Target="https://docs.microsoft.com/en-in/azure/logic-apps/" TargetMode="External"/><Relationship Id="rId56" Type="http://schemas.openxmlformats.org/officeDocument/2006/relationships/image" Target="../media/image202.png"/><Relationship Id="rId64" Type="http://schemas.openxmlformats.org/officeDocument/2006/relationships/hyperlink" Target="https://docs.microsoft.com/en-in/azure/iot-central/" TargetMode="External"/><Relationship Id="rId69" Type="http://schemas.openxmlformats.org/officeDocument/2006/relationships/image" Target="../media/image206.png"/><Relationship Id="rId77" Type="http://schemas.openxmlformats.org/officeDocument/2006/relationships/hyperlink" Target="https://docs.microsoft.com/en-in/azure/cosmos-db/" TargetMode="External"/><Relationship Id="rId8" Type="http://schemas.openxmlformats.org/officeDocument/2006/relationships/hyperlink" Target="https://docs.microsoft.com/en-in/azure/api-management/" TargetMode="External"/><Relationship Id="rId51" Type="http://schemas.openxmlformats.org/officeDocument/2006/relationships/image" Target="../media/image211.svg"/><Relationship Id="rId72" Type="http://schemas.openxmlformats.org/officeDocument/2006/relationships/image" Target="../media/image209.png"/><Relationship Id="rId80" Type="http://schemas.openxmlformats.org/officeDocument/2006/relationships/image" Target="../media/image379.png"/><Relationship Id="rId85" Type="http://schemas.openxmlformats.org/officeDocument/2006/relationships/image" Target="../media/image382.svg"/><Relationship Id="rId3" Type="http://schemas.openxmlformats.org/officeDocument/2006/relationships/slideLayout" Target="../slideLayouts/slideLayout2.xml"/><Relationship Id="rId12" Type="http://schemas.openxmlformats.org/officeDocument/2006/relationships/hyperlink" Target="https://docs.microsoft.com/en-in/azure/app-service-api/" TargetMode="External"/><Relationship Id="rId17" Type="http://schemas.openxmlformats.org/officeDocument/2006/relationships/image" Target="../media/image371.svg"/><Relationship Id="rId25" Type="http://schemas.openxmlformats.org/officeDocument/2006/relationships/hyperlink" Target="https://docs.microsoft.com/en-in/azure/app-service-mobile/" TargetMode="External"/><Relationship Id="rId33" Type="http://schemas.openxmlformats.org/officeDocument/2006/relationships/image" Target="../media/image193.png"/><Relationship Id="rId38" Type="http://schemas.openxmlformats.org/officeDocument/2006/relationships/hyperlink" Target="https://docs.microsoft.com/en-in/azure/media-services/media-services-manage-channels-overview" TargetMode="External"/><Relationship Id="rId46" Type="http://schemas.openxmlformats.org/officeDocument/2006/relationships/image" Target="../media/image190.png"/><Relationship Id="rId59" Type="http://schemas.openxmlformats.org/officeDocument/2006/relationships/hyperlink" Target="https://docs.microsoft.com/en-in/azure/virtual-desktop/" TargetMode="External"/><Relationship Id="rId67" Type="http://schemas.openxmlformats.org/officeDocument/2006/relationships/image" Target="../media/image203.png"/><Relationship Id="rId20" Type="http://schemas.openxmlformats.org/officeDocument/2006/relationships/image" Target="../media/image212.png"/><Relationship Id="rId41" Type="http://schemas.openxmlformats.org/officeDocument/2006/relationships/image" Target="../media/image197.png"/><Relationship Id="rId54" Type="http://schemas.openxmlformats.org/officeDocument/2006/relationships/hyperlink" Target="https://docs.microsoft.com/en-in/azure/digital-twins/" TargetMode="External"/><Relationship Id="rId62" Type="http://schemas.openxmlformats.org/officeDocument/2006/relationships/hyperlink" Target="https://docs.microsoft.com/en-in/azure/iot-edge/" TargetMode="External"/><Relationship Id="rId70" Type="http://schemas.openxmlformats.org/officeDocument/2006/relationships/image" Target="../media/image207.png"/><Relationship Id="rId75" Type="http://schemas.openxmlformats.org/officeDocument/2006/relationships/hyperlink" Target="https://docs.microsoft.com/en-in/azure/stream-analytics/" TargetMode="External"/><Relationship Id="rId83" Type="http://schemas.openxmlformats.org/officeDocument/2006/relationships/hyperlink" Target="https://docs.microsoft.com/en-in/azure/time-series-insights/" TargetMode="External"/><Relationship Id="rId88" Type="http://schemas.openxmlformats.org/officeDocument/2006/relationships/image" Target="../media/image253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5" Type="http://schemas.openxmlformats.org/officeDocument/2006/relationships/image" Target="../media/image370.svg"/><Relationship Id="rId23" Type="http://schemas.openxmlformats.org/officeDocument/2006/relationships/image" Target="../media/image374.png"/><Relationship Id="rId28" Type="http://schemas.openxmlformats.org/officeDocument/2006/relationships/hyperlink" Target="https://docs.microsoft.com/en-in/appcenter/" TargetMode="External"/><Relationship Id="rId36" Type="http://schemas.openxmlformats.org/officeDocument/2006/relationships/hyperlink" Target="https://docs.microsoft.com/en-in/azure/media-services/media-services-encode-asset" TargetMode="External"/><Relationship Id="rId49" Type="http://schemas.openxmlformats.org/officeDocument/2006/relationships/hyperlink" Target="https://docs.microsoft.com/en-in/azure/event-grid/" TargetMode="External"/><Relationship Id="rId57" Type="http://schemas.openxmlformats.org/officeDocument/2006/relationships/image" Target="../media/image239.png"/><Relationship Id="rId10" Type="http://schemas.openxmlformats.org/officeDocument/2006/relationships/hyperlink" Target="https://docs.microsoft.com/en-in/azure/notification-hubs/" TargetMode="External"/><Relationship Id="rId31" Type="http://schemas.openxmlformats.org/officeDocument/2006/relationships/image" Target="../media/image378.png"/><Relationship Id="rId44" Type="http://schemas.openxmlformats.org/officeDocument/2006/relationships/image" Target="../media/image137.png"/><Relationship Id="rId52" Type="http://schemas.openxmlformats.org/officeDocument/2006/relationships/image" Target="../media/image192.png"/><Relationship Id="rId60" Type="http://schemas.openxmlformats.org/officeDocument/2006/relationships/image" Target="../media/image250.png"/><Relationship Id="rId65" Type="http://schemas.openxmlformats.org/officeDocument/2006/relationships/image" Target="../media/image201.png"/><Relationship Id="rId73" Type="http://schemas.openxmlformats.org/officeDocument/2006/relationships/hyperlink" Target="https://docs.microsoft.com/en-in/azure/machine-learning/" TargetMode="External"/><Relationship Id="rId78" Type="http://schemas.openxmlformats.org/officeDocument/2006/relationships/image" Target="../media/image214.png"/><Relationship Id="rId81" Type="http://schemas.openxmlformats.org/officeDocument/2006/relationships/image" Target="../media/image380.svg"/><Relationship Id="rId86" Type="http://schemas.openxmlformats.org/officeDocument/2006/relationships/hyperlink" Target="https://docs.microsoft.com/en-in/azure/machine-learning/service" TargetMode="External"/><Relationship Id="rId4" Type="http://schemas.openxmlformats.org/officeDocument/2006/relationships/notesSlide" Target="../notesSlides/notesSlide5.xml"/><Relationship Id="rId9" Type="http://schemas.openxmlformats.org/officeDocument/2006/relationships/hyperlink" Target="https://docs.microsoft.com/en-in/azure/cdn/" TargetMode="External"/><Relationship Id="rId13" Type="http://schemas.openxmlformats.org/officeDocument/2006/relationships/hyperlink" Target="https://docs.microsoft.com/en-in/azure/search/" TargetMode="External"/><Relationship Id="rId18" Type="http://schemas.openxmlformats.org/officeDocument/2006/relationships/image" Target="../media/image372.png"/><Relationship Id="rId39" Type="http://schemas.openxmlformats.org/officeDocument/2006/relationships/image" Target="../media/image196.png"/><Relationship Id="rId34" Type="http://schemas.openxmlformats.org/officeDocument/2006/relationships/hyperlink" Target="https://docs.microsoft.com/en-in/azure/media-services/" TargetMode="External"/><Relationship Id="rId50" Type="http://schemas.openxmlformats.org/officeDocument/2006/relationships/image" Target="../media/image210.png"/><Relationship Id="rId55" Type="http://schemas.openxmlformats.org/officeDocument/2006/relationships/hyperlink" Target="https://docs.microsoft.com/en-in/azure/spatial-anchors/" TargetMode="External"/><Relationship Id="rId76" Type="http://schemas.openxmlformats.org/officeDocument/2006/relationships/image" Target="../media/image213.png"/><Relationship Id="rId7" Type="http://schemas.openxmlformats.org/officeDocument/2006/relationships/hyperlink" Target="https://docs.microsoft.com/en-in/azure/app-service-web/" TargetMode="External"/><Relationship Id="rId71" Type="http://schemas.openxmlformats.org/officeDocument/2006/relationships/hyperlink" Target="https://docs.microsoft.com/en-in/azure/azure-functions/" TargetMode="External"/><Relationship Id="rId2" Type="http://schemas.openxmlformats.org/officeDocument/2006/relationships/tags" Target="../tags/tag7.xml"/><Relationship Id="rId29" Type="http://schemas.openxmlformats.org/officeDocument/2006/relationships/image" Target="../media/image377.png"/><Relationship Id="rId24" Type="http://schemas.openxmlformats.org/officeDocument/2006/relationships/image" Target="../media/image375.png"/><Relationship Id="rId40" Type="http://schemas.openxmlformats.org/officeDocument/2006/relationships/hyperlink" Target="https://docs.microsoft.com/en-in/azure/media-services/media-services-playback-content-with-existing-players" TargetMode="External"/><Relationship Id="rId45" Type="http://schemas.openxmlformats.org/officeDocument/2006/relationships/hyperlink" Target="https://docs.microsoft.com/en-in/azure/cognitive-services/video-indexer/video-indexer-overview" TargetMode="External"/><Relationship Id="rId66" Type="http://schemas.openxmlformats.org/officeDocument/2006/relationships/hyperlink" Target="https://docs.microsoft.com/en-in/azure/iot-suite/" TargetMode="External"/><Relationship Id="rId87" Type="http://schemas.openxmlformats.org/officeDocument/2006/relationships/hyperlink" Target="https://docs.microsoft.com/en-in/azure/machine-learning/studio" TargetMode="External"/><Relationship Id="rId61" Type="http://schemas.openxmlformats.org/officeDocument/2006/relationships/image" Target="../media/image199.png"/><Relationship Id="rId82" Type="http://schemas.openxmlformats.org/officeDocument/2006/relationships/hyperlink" Target="https://docs.microsoft.com/en-in/azure/iot-hub/" TargetMode="External"/><Relationship Id="rId1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Rectangle 647">
            <a:extLst>
              <a:ext uri="{FF2B5EF4-FFF2-40B4-BE49-F238E27FC236}">
                <a16:creationId xmlns:a16="http://schemas.microsoft.com/office/drawing/2014/main" id="{502D0C67-640F-49DB-8E0C-9D337163D563}"/>
              </a:ext>
            </a:extLst>
          </p:cNvPr>
          <p:cNvSpPr/>
          <p:nvPr/>
        </p:nvSpPr>
        <p:spPr bwMode="auto">
          <a:xfrm>
            <a:off x="865" y="487"/>
            <a:ext cx="958975" cy="6857027"/>
          </a:xfrm>
          <a:prstGeom prst="rect">
            <a:avLst/>
          </a:prstGeom>
          <a:solidFill>
            <a:schemeClr val="accent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645" name="Object 644" hidden="1">
            <a:extLst>
              <a:ext uri="{FF2B5EF4-FFF2-40B4-BE49-F238E27FC236}">
                <a16:creationId xmlns:a16="http://schemas.microsoft.com/office/drawing/2014/main" id="{00BA01C9-1D80-4AE0-89A5-8B29598B0C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52" y="207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45" name="Object 644" hidden="1">
                        <a:extLst>
                          <a:ext uri="{FF2B5EF4-FFF2-40B4-BE49-F238E27FC236}">
                            <a16:creationId xmlns:a16="http://schemas.microsoft.com/office/drawing/2014/main" id="{00BA01C9-1D80-4AE0-89A5-8B29598B0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52" y="207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>
            <a:extLst>
              <a:ext uri="{FF2B5EF4-FFF2-40B4-BE49-F238E27FC236}">
                <a16:creationId xmlns:a16="http://schemas.microsoft.com/office/drawing/2014/main" id="{0C63EF10-F1D5-4F10-90BE-C02C123DBA6E}"/>
              </a:ext>
            </a:extLst>
          </p:cNvPr>
          <p:cNvSpPr/>
          <p:nvPr/>
        </p:nvSpPr>
        <p:spPr bwMode="auto">
          <a:xfrm>
            <a:off x="951960" y="1346310"/>
            <a:ext cx="11239176" cy="5759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943" name="Rectangle 942">
            <a:extLst>
              <a:ext uri="{FF2B5EF4-FFF2-40B4-BE49-F238E27FC236}">
                <a16:creationId xmlns:a16="http://schemas.microsoft.com/office/drawing/2014/main" id="{FC5D3BF7-F1E8-4C5B-967E-E7E3176BB5BB}"/>
              </a:ext>
            </a:extLst>
          </p:cNvPr>
          <p:cNvSpPr/>
          <p:nvPr/>
        </p:nvSpPr>
        <p:spPr bwMode="auto">
          <a:xfrm>
            <a:off x="3475957" y="1346310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Databas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AC52C8-23E4-428B-8DC7-80183375D3FE}"/>
              </a:ext>
            </a:extLst>
          </p:cNvPr>
          <p:cNvSpPr/>
          <p:nvPr/>
        </p:nvSpPr>
        <p:spPr bwMode="auto">
          <a:xfrm>
            <a:off x="951960" y="208795"/>
            <a:ext cx="11239176" cy="5718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C32EC10-82EA-429D-A915-70AEDDDC6C86}"/>
              </a:ext>
            </a:extLst>
          </p:cNvPr>
          <p:cNvSpPr/>
          <p:nvPr/>
        </p:nvSpPr>
        <p:spPr bwMode="auto">
          <a:xfrm>
            <a:off x="951960" y="777552"/>
            <a:ext cx="11239176" cy="575990"/>
          </a:xfrm>
          <a:prstGeom prst="rect">
            <a:avLst/>
          </a:prstGeom>
          <a:solidFill>
            <a:schemeClr val="bg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DF74CD8F-9510-433D-A80E-6D5D841C8EA4}"/>
              </a:ext>
            </a:extLst>
          </p:cNvPr>
          <p:cNvSpPr/>
          <p:nvPr/>
        </p:nvSpPr>
        <p:spPr bwMode="auto">
          <a:xfrm>
            <a:off x="951960" y="1915066"/>
            <a:ext cx="11239176" cy="571877"/>
          </a:xfrm>
          <a:prstGeom prst="rect">
            <a:avLst/>
          </a:prstGeom>
          <a:solidFill>
            <a:schemeClr val="bg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F86C39FD-03DB-494F-94E4-C95A56227484}"/>
              </a:ext>
            </a:extLst>
          </p:cNvPr>
          <p:cNvSpPr/>
          <p:nvPr/>
        </p:nvSpPr>
        <p:spPr bwMode="auto">
          <a:xfrm>
            <a:off x="951960" y="2483825"/>
            <a:ext cx="11239176" cy="5718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9D880BA6-86F2-4891-8451-6B86534E22B8}"/>
              </a:ext>
            </a:extLst>
          </p:cNvPr>
          <p:cNvSpPr/>
          <p:nvPr/>
        </p:nvSpPr>
        <p:spPr bwMode="auto">
          <a:xfrm>
            <a:off x="951960" y="3052585"/>
            <a:ext cx="11239176" cy="961134"/>
          </a:xfrm>
          <a:prstGeom prst="rect">
            <a:avLst/>
          </a:prstGeom>
          <a:solidFill>
            <a:schemeClr val="bg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834DAFD2-C4BB-47B2-870C-CC0C3EFBEB1B}"/>
              </a:ext>
            </a:extLst>
          </p:cNvPr>
          <p:cNvSpPr/>
          <p:nvPr/>
        </p:nvSpPr>
        <p:spPr bwMode="auto">
          <a:xfrm>
            <a:off x="951960" y="4010598"/>
            <a:ext cx="11239176" cy="5718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6614F8A7-C36D-4CC0-BF3B-E0BB44AA241F}"/>
              </a:ext>
            </a:extLst>
          </p:cNvPr>
          <p:cNvSpPr/>
          <p:nvPr/>
        </p:nvSpPr>
        <p:spPr bwMode="auto">
          <a:xfrm>
            <a:off x="951960" y="4579357"/>
            <a:ext cx="11239176" cy="571877"/>
          </a:xfrm>
          <a:prstGeom prst="rect">
            <a:avLst/>
          </a:prstGeom>
          <a:solidFill>
            <a:schemeClr val="bg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259214D7-C07A-491F-9579-8333B393820F}"/>
              </a:ext>
            </a:extLst>
          </p:cNvPr>
          <p:cNvSpPr/>
          <p:nvPr/>
        </p:nvSpPr>
        <p:spPr bwMode="auto">
          <a:xfrm>
            <a:off x="951960" y="5148116"/>
            <a:ext cx="11239176" cy="5718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DEF9774F-3FD8-4B29-926A-30754D33B85B}"/>
              </a:ext>
            </a:extLst>
          </p:cNvPr>
          <p:cNvSpPr/>
          <p:nvPr/>
        </p:nvSpPr>
        <p:spPr bwMode="auto">
          <a:xfrm>
            <a:off x="951960" y="5716874"/>
            <a:ext cx="11239176" cy="571877"/>
          </a:xfrm>
          <a:prstGeom prst="rect">
            <a:avLst/>
          </a:prstGeom>
          <a:solidFill>
            <a:schemeClr val="bg2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98405095-52D7-4DD6-A8FB-941D83F58692}"/>
              </a:ext>
            </a:extLst>
          </p:cNvPr>
          <p:cNvSpPr/>
          <p:nvPr/>
        </p:nvSpPr>
        <p:spPr bwMode="auto">
          <a:xfrm>
            <a:off x="951960" y="6285636"/>
            <a:ext cx="11239176" cy="57187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EDB90BE-0500-477A-902C-1896EC2BB739}"/>
              </a:ext>
            </a:extLst>
          </p:cNvPr>
          <p:cNvSpPr/>
          <p:nvPr/>
        </p:nvSpPr>
        <p:spPr bwMode="auto">
          <a:xfrm>
            <a:off x="302828" y="285922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Comput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9D36554-4B48-4FB0-A32D-02AD4C96742B}"/>
              </a:ext>
            </a:extLst>
          </p:cNvPr>
          <p:cNvSpPr/>
          <p:nvPr/>
        </p:nvSpPr>
        <p:spPr bwMode="auto">
          <a:xfrm>
            <a:off x="302828" y="854679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Storage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087FD00-47CC-4DBC-8F87-18A98D861568}"/>
              </a:ext>
            </a:extLst>
          </p:cNvPr>
          <p:cNvSpPr/>
          <p:nvPr/>
        </p:nvSpPr>
        <p:spPr bwMode="auto">
          <a:xfrm>
            <a:off x="302828" y="1423437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obile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351D1F6E-D298-4913-8B2C-937EB8BFB523}"/>
              </a:ext>
            </a:extLst>
          </p:cNvPr>
          <p:cNvSpPr/>
          <p:nvPr/>
        </p:nvSpPr>
        <p:spPr bwMode="auto">
          <a:xfrm>
            <a:off x="302828" y="1992193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nalytics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37DE7693-5F48-40FA-A3BD-AD554E9764FD}"/>
              </a:ext>
            </a:extLst>
          </p:cNvPr>
          <p:cNvSpPr/>
          <p:nvPr/>
        </p:nvSpPr>
        <p:spPr bwMode="auto">
          <a:xfrm>
            <a:off x="302828" y="2560952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Security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0133691C-2286-4D94-BA72-FDA0E8D25DDA}"/>
              </a:ext>
            </a:extLst>
          </p:cNvPr>
          <p:cNvSpPr/>
          <p:nvPr/>
        </p:nvSpPr>
        <p:spPr bwMode="auto">
          <a:xfrm>
            <a:off x="302828" y="3168474"/>
            <a:ext cx="649132" cy="729353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I + Machine Learning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D92CF7C4-E5FE-416D-8B93-F30058229095}"/>
              </a:ext>
            </a:extLst>
          </p:cNvPr>
          <p:cNvSpPr/>
          <p:nvPr/>
        </p:nvSpPr>
        <p:spPr bwMode="auto">
          <a:xfrm>
            <a:off x="302828" y="4087724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Containers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8604F91B-CEE0-49B2-A7DC-5280E64FC76B}"/>
              </a:ext>
            </a:extLst>
          </p:cNvPr>
          <p:cNvSpPr/>
          <p:nvPr/>
        </p:nvSpPr>
        <p:spPr bwMode="auto">
          <a:xfrm>
            <a:off x="302828" y="4656483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Identity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20850BE7-84E9-4808-AD56-0BBC2866E2BC}"/>
              </a:ext>
            </a:extLst>
          </p:cNvPr>
          <p:cNvSpPr/>
          <p:nvPr/>
        </p:nvSpPr>
        <p:spPr bwMode="auto">
          <a:xfrm>
            <a:off x="302828" y="5225243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Internet of Things</a:t>
            </a: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90EED63D-0A5B-41D0-A74D-75A1384F1288}"/>
              </a:ext>
            </a:extLst>
          </p:cNvPr>
          <p:cNvSpPr/>
          <p:nvPr/>
        </p:nvSpPr>
        <p:spPr bwMode="auto">
          <a:xfrm>
            <a:off x="170743" y="5794001"/>
            <a:ext cx="781217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anagement and Governance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69286AD7-0526-424E-83A6-71A26DFC6387}"/>
              </a:ext>
            </a:extLst>
          </p:cNvPr>
          <p:cNvSpPr/>
          <p:nvPr/>
        </p:nvSpPr>
        <p:spPr bwMode="auto">
          <a:xfrm>
            <a:off x="302828" y="6362763"/>
            <a:ext cx="649132" cy="417625"/>
          </a:xfrm>
          <a:prstGeom prst="rect">
            <a:avLst/>
          </a:prstGeom>
          <a:noFill/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9142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Azure Stack</a:t>
            </a:r>
          </a:p>
        </p:txBody>
      </p: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4AE6AE1-63C3-4C2B-9BE6-E909C7966608}"/>
              </a:ext>
            </a:extLst>
          </p:cNvPr>
          <p:cNvCxnSpPr>
            <a:cxnSpLocks/>
          </p:cNvCxnSpPr>
          <p:nvPr/>
        </p:nvCxnSpPr>
        <p:spPr>
          <a:xfrm flipH="1">
            <a:off x="954754" y="208795"/>
            <a:ext cx="11236382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1B01A9C5-2ECD-4145-9BF2-604ED62A2DE8}"/>
              </a:ext>
            </a:extLst>
          </p:cNvPr>
          <p:cNvCxnSpPr>
            <a:cxnSpLocks/>
          </p:cNvCxnSpPr>
          <p:nvPr/>
        </p:nvCxnSpPr>
        <p:spPr>
          <a:xfrm flipH="1">
            <a:off x="494824" y="777552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7" name="Straight Connector 666">
            <a:extLst>
              <a:ext uri="{FF2B5EF4-FFF2-40B4-BE49-F238E27FC236}">
                <a16:creationId xmlns:a16="http://schemas.microsoft.com/office/drawing/2014/main" id="{847B3639-0BF9-4E78-9494-97253320FEA1}"/>
              </a:ext>
            </a:extLst>
          </p:cNvPr>
          <p:cNvCxnSpPr>
            <a:cxnSpLocks/>
          </p:cNvCxnSpPr>
          <p:nvPr/>
        </p:nvCxnSpPr>
        <p:spPr>
          <a:xfrm flipH="1">
            <a:off x="494824" y="1346310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39F9D20B-2D4A-4DCE-8EF1-2FCEAA98367E}"/>
              </a:ext>
            </a:extLst>
          </p:cNvPr>
          <p:cNvCxnSpPr>
            <a:cxnSpLocks/>
          </p:cNvCxnSpPr>
          <p:nvPr/>
        </p:nvCxnSpPr>
        <p:spPr>
          <a:xfrm flipH="1">
            <a:off x="494824" y="1915068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240555D4-B98B-41AB-86A1-5851E3BFDA44}"/>
              </a:ext>
            </a:extLst>
          </p:cNvPr>
          <p:cNvCxnSpPr>
            <a:cxnSpLocks/>
          </p:cNvCxnSpPr>
          <p:nvPr/>
        </p:nvCxnSpPr>
        <p:spPr>
          <a:xfrm flipH="1">
            <a:off x="494824" y="2483827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753A0352-1714-4480-B464-391919855A81}"/>
              </a:ext>
            </a:extLst>
          </p:cNvPr>
          <p:cNvCxnSpPr>
            <a:cxnSpLocks/>
          </p:cNvCxnSpPr>
          <p:nvPr/>
        </p:nvCxnSpPr>
        <p:spPr>
          <a:xfrm flipH="1">
            <a:off x="494824" y="3052585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9588DF0-33D0-433D-9214-49D8B2718157}"/>
              </a:ext>
            </a:extLst>
          </p:cNvPr>
          <p:cNvCxnSpPr>
            <a:cxnSpLocks/>
          </p:cNvCxnSpPr>
          <p:nvPr/>
        </p:nvCxnSpPr>
        <p:spPr>
          <a:xfrm flipH="1">
            <a:off x="494824" y="4010598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65244306-F62F-4C13-B59E-33005F498D79}"/>
              </a:ext>
            </a:extLst>
          </p:cNvPr>
          <p:cNvCxnSpPr>
            <a:cxnSpLocks/>
          </p:cNvCxnSpPr>
          <p:nvPr/>
        </p:nvCxnSpPr>
        <p:spPr>
          <a:xfrm flipH="1">
            <a:off x="494824" y="4579357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9BB0ED93-3F2C-4C6A-AB6E-F88D0FB979D2}"/>
              </a:ext>
            </a:extLst>
          </p:cNvPr>
          <p:cNvCxnSpPr>
            <a:cxnSpLocks/>
          </p:cNvCxnSpPr>
          <p:nvPr/>
        </p:nvCxnSpPr>
        <p:spPr>
          <a:xfrm flipH="1">
            <a:off x="494824" y="5148116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BD9C1724-FB95-4544-A808-529B6A8EB8E9}"/>
              </a:ext>
            </a:extLst>
          </p:cNvPr>
          <p:cNvCxnSpPr>
            <a:cxnSpLocks/>
          </p:cNvCxnSpPr>
          <p:nvPr/>
        </p:nvCxnSpPr>
        <p:spPr>
          <a:xfrm flipH="1">
            <a:off x="494824" y="5716875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EFCA9B42-EABD-4A57-8198-205596778DE4}"/>
              </a:ext>
            </a:extLst>
          </p:cNvPr>
          <p:cNvCxnSpPr>
            <a:cxnSpLocks/>
          </p:cNvCxnSpPr>
          <p:nvPr/>
        </p:nvCxnSpPr>
        <p:spPr>
          <a:xfrm flipH="1">
            <a:off x="494824" y="6285635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1" name="Rectangle 680">
            <a:extLst>
              <a:ext uri="{FF2B5EF4-FFF2-40B4-BE49-F238E27FC236}">
                <a16:creationId xmlns:a16="http://schemas.microsoft.com/office/drawing/2014/main" id="{F6BFC8A0-8BAF-4706-AACE-DAF7CD73374E}"/>
              </a:ext>
            </a:extLst>
          </p:cNvPr>
          <p:cNvSpPr/>
          <p:nvPr/>
        </p:nvSpPr>
        <p:spPr bwMode="auto">
          <a:xfrm>
            <a:off x="865" y="487"/>
            <a:ext cx="137141" cy="685702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50E6FF"/>
              </a:solidFill>
              <a:effectLst/>
              <a:uLnTx/>
              <a:uFillTx/>
              <a:latin typeface="Segoe UI Semibold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A70D1BEB-483F-4528-9BAB-5E9865352306}"/>
              </a:ext>
            </a:extLst>
          </p:cNvPr>
          <p:cNvSpPr/>
          <p:nvPr/>
        </p:nvSpPr>
        <p:spPr bwMode="auto">
          <a:xfrm>
            <a:off x="5652585" y="208795"/>
            <a:ext cx="553152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Networking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661C4BD1-CDD5-4E84-BCC3-190B633465E0}"/>
              </a:ext>
            </a:extLst>
          </p:cNvPr>
          <p:cNvGrpSpPr/>
          <p:nvPr/>
        </p:nvGrpSpPr>
        <p:grpSpPr>
          <a:xfrm>
            <a:off x="969834" y="283513"/>
            <a:ext cx="370294" cy="347409"/>
            <a:chOff x="969834" y="283513"/>
            <a:chExt cx="370294" cy="347409"/>
          </a:xfrm>
        </p:grpSpPr>
        <p:sp>
          <p:nvSpPr>
            <p:cNvPr id="695" name="TextBox 694">
              <a:extLst>
                <a:ext uri="{FF2B5EF4-FFF2-40B4-BE49-F238E27FC236}">
                  <a16:creationId xmlns:a16="http://schemas.microsoft.com/office/drawing/2014/main" id="{729B8C6A-F662-46E3-8C03-018A6570D7CC}"/>
                </a:ext>
              </a:extLst>
            </p:cNvPr>
            <p:cNvSpPr txBox="1"/>
            <p:nvPr/>
          </p:nvSpPr>
          <p:spPr>
            <a:xfrm>
              <a:off x="969834" y="492423"/>
              <a:ext cx="37029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Calibri" panose="020F0502020204030204" pitchFamily="34" charset="0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ux Virtual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Calibri" panose="020F0502020204030204" pitchFamily="34" charset="0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735" name="Graphic 734">
              <a:extLst>
                <a:ext uri="{FF2B5EF4-FFF2-40B4-BE49-F238E27FC236}">
                  <a16:creationId xmlns:a16="http://schemas.microsoft.com/office/drawing/2014/main" id="{B6C0D36D-0FFC-4915-8EDA-B8797B551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74159" y="283513"/>
              <a:ext cx="161643" cy="161643"/>
            </a:xfrm>
            <a:prstGeom prst="rect">
              <a:avLst/>
            </a:prstGeom>
          </p:spPr>
        </p:pic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065EC78-5817-4B45-9C65-A218985DD9B6}"/>
              </a:ext>
            </a:extLst>
          </p:cNvPr>
          <p:cNvGrpSpPr/>
          <p:nvPr/>
        </p:nvGrpSpPr>
        <p:grpSpPr>
          <a:xfrm>
            <a:off x="1372206" y="283513"/>
            <a:ext cx="278884" cy="416659"/>
            <a:chOff x="1366784" y="283513"/>
            <a:chExt cx="278884" cy="416659"/>
          </a:xfrm>
        </p:grpSpPr>
        <p:sp>
          <p:nvSpPr>
            <p:cNvPr id="696" name="TextBox 695">
              <a:extLst>
                <a:ext uri="{FF2B5EF4-FFF2-40B4-BE49-F238E27FC236}">
                  <a16:creationId xmlns:a16="http://schemas.microsoft.com/office/drawing/2014/main" id="{02D6E722-66B9-4050-AF75-659155AAF8AF}"/>
                </a:ext>
              </a:extLst>
            </p:cNvPr>
            <p:cNvSpPr txBox="1"/>
            <p:nvPr/>
          </p:nvSpPr>
          <p:spPr>
            <a:xfrm>
              <a:off x="1366784" y="492423"/>
              <a:ext cx="278884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914492">
                <a:lnSpc>
                  <a:spcPct val="90000"/>
                </a:lnSpc>
                <a:defRPr sz="1400">
                  <a:solidFill>
                    <a:schemeClr val="bg1"/>
                  </a:solidFill>
                  <a:latin typeface="Segoe UI" panose="020B0502040204020203" pitchFamily="34" charset="0"/>
                  <a:ea typeface="Calibri" panose="020F0502020204030204" pitchFamily="34" charset="0"/>
                </a:defRPr>
              </a:lvl1pPr>
            </a:lstStyle>
            <a:p>
              <a:pPr marL="0" marR="0" lvl="0" indent="0" algn="ctr" defTabSz="24494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ndows Virtual </a:t>
              </a:r>
            </a:p>
            <a:p>
              <a:pPr marL="0" marR="0" lvl="0" indent="0" algn="ctr" defTabSz="244945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cs typeface="+mn-cs"/>
              </a:endParaRPr>
            </a:p>
          </p:txBody>
        </p:sp>
        <p:pic>
          <p:nvPicPr>
            <p:cNvPr id="736" name="Graphic 735">
              <a:extLst>
                <a:ext uri="{FF2B5EF4-FFF2-40B4-BE49-F238E27FC236}">
                  <a16:creationId xmlns:a16="http://schemas.microsoft.com/office/drawing/2014/main" id="{1632C7DC-D328-4B60-BAC0-9C0E48855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425404" y="283513"/>
              <a:ext cx="161643" cy="161643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98E0DC0-371E-4A24-A0E4-0A91CCF25CBF}"/>
              </a:ext>
            </a:extLst>
          </p:cNvPr>
          <p:cNvGrpSpPr/>
          <p:nvPr/>
        </p:nvGrpSpPr>
        <p:grpSpPr>
          <a:xfrm>
            <a:off x="2743228" y="307178"/>
            <a:ext cx="198773" cy="323744"/>
            <a:chOff x="2798555" y="307178"/>
            <a:chExt cx="198773" cy="323744"/>
          </a:xfrm>
        </p:grpSpPr>
        <p:sp>
          <p:nvSpPr>
            <p:cNvPr id="701" name="TextBox 700">
              <a:extLst>
                <a:ext uri="{FF2B5EF4-FFF2-40B4-BE49-F238E27FC236}">
                  <a16:creationId xmlns:a16="http://schemas.microsoft.com/office/drawing/2014/main" id="{12D506AF-8289-46D9-BBBC-8ED9226F9604}"/>
                </a:ext>
              </a:extLst>
            </p:cNvPr>
            <p:cNvSpPr txBox="1"/>
            <p:nvPr/>
          </p:nvSpPr>
          <p:spPr>
            <a:xfrm>
              <a:off x="2798555" y="492423"/>
              <a:ext cx="19877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abric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37" name="Graphic 736">
              <a:extLst>
                <a:ext uri="{FF2B5EF4-FFF2-40B4-BE49-F238E27FC236}">
                  <a16:creationId xmlns:a16="http://schemas.microsoft.com/office/drawing/2014/main" id="{28FF3EA7-73D0-4CD3-BA8C-E7A728C80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830161" y="307178"/>
              <a:ext cx="135563" cy="135563"/>
            </a:xfrm>
            <a:prstGeom prst="rect">
              <a:avLst/>
            </a:prstGeom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6B413392-723C-4CC6-AE87-5142673319D2}"/>
              </a:ext>
            </a:extLst>
          </p:cNvPr>
          <p:cNvGrpSpPr/>
          <p:nvPr/>
        </p:nvGrpSpPr>
        <p:grpSpPr>
          <a:xfrm>
            <a:off x="3684247" y="268757"/>
            <a:ext cx="226024" cy="362165"/>
            <a:chOff x="3767454" y="268757"/>
            <a:chExt cx="226024" cy="362165"/>
          </a:xfrm>
        </p:grpSpPr>
        <p:sp>
          <p:nvSpPr>
            <p:cNvPr id="704" name="TextBox 703">
              <a:extLst>
                <a:ext uri="{FF2B5EF4-FFF2-40B4-BE49-F238E27FC236}">
                  <a16:creationId xmlns:a16="http://schemas.microsoft.com/office/drawing/2014/main" id="{0E7EC4C3-82B8-4EC5-88CF-ACA7BD969BB3}"/>
                </a:ext>
              </a:extLst>
            </p:cNvPr>
            <p:cNvSpPr txBox="1"/>
            <p:nvPr/>
          </p:nvSpPr>
          <p:spPr>
            <a:xfrm>
              <a:off x="3767454" y="492423"/>
              <a:ext cx="22602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oud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38" name="Graphic 737">
              <a:extLst>
                <a:ext uri="{FF2B5EF4-FFF2-40B4-BE49-F238E27FC236}">
                  <a16:creationId xmlns:a16="http://schemas.microsoft.com/office/drawing/2014/main" id="{F1B6A4B1-A478-41F1-9670-9311F8D48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791513" y="268757"/>
              <a:ext cx="177905" cy="177905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98F2D7E-C26C-4EF4-828D-A0690A8A10D0}"/>
              </a:ext>
            </a:extLst>
          </p:cNvPr>
          <p:cNvGrpSpPr/>
          <p:nvPr/>
        </p:nvGrpSpPr>
        <p:grpSpPr>
          <a:xfrm>
            <a:off x="1914019" y="296411"/>
            <a:ext cx="274114" cy="265260"/>
            <a:chOff x="1929321" y="296411"/>
            <a:chExt cx="274114" cy="265260"/>
          </a:xfrm>
        </p:grpSpPr>
        <p:sp>
          <p:nvSpPr>
            <p:cNvPr id="698" name="TextBox 697">
              <a:extLst>
                <a:ext uri="{FF2B5EF4-FFF2-40B4-BE49-F238E27FC236}">
                  <a16:creationId xmlns:a16="http://schemas.microsoft.com/office/drawing/2014/main" id="{381A2A0D-EF96-4008-B76B-3EDF3A26CE4C}"/>
                </a:ext>
              </a:extLst>
            </p:cNvPr>
            <p:cNvSpPr txBox="1"/>
            <p:nvPr/>
          </p:nvSpPr>
          <p:spPr>
            <a:xfrm>
              <a:off x="1929321" y="492421"/>
              <a:ext cx="274114" cy="692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unction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39" name="Graphic 738">
              <a:extLst>
                <a:ext uri="{FF2B5EF4-FFF2-40B4-BE49-F238E27FC236}">
                  <a16:creationId xmlns:a16="http://schemas.microsoft.com/office/drawing/2014/main" id="{8B89A6C1-2C7D-4785-9DBE-C5F5D6E52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992663" y="296411"/>
              <a:ext cx="147429" cy="147429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AA4F363-29AB-4CF1-AD4B-59113AB54DE2}"/>
              </a:ext>
            </a:extLst>
          </p:cNvPr>
          <p:cNvGrpSpPr/>
          <p:nvPr/>
        </p:nvGrpSpPr>
        <p:grpSpPr>
          <a:xfrm>
            <a:off x="4785567" y="245558"/>
            <a:ext cx="317396" cy="316113"/>
            <a:chOff x="4846125" y="245558"/>
            <a:chExt cx="317396" cy="316113"/>
          </a:xfrm>
        </p:grpSpPr>
        <p:sp>
          <p:nvSpPr>
            <p:cNvPr id="707" name="TextBox 706">
              <a:extLst>
                <a:ext uri="{FF2B5EF4-FFF2-40B4-BE49-F238E27FC236}">
                  <a16:creationId xmlns:a16="http://schemas.microsoft.com/office/drawing/2014/main" id="{D404C3E6-9A85-4A9B-8AEE-BACB4EA17C7F}"/>
                </a:ext>
              </a:extLst>
            </p:cNvPr>
            <p:cNvSpPr txBox="1"/>
            <p:nvPr/>
          </p:nvSpPr>
          <p:spPr>
            <a:xfrm>
              <a:off x="4846125" y="492421"/>
              <a:ext cx="317396" cy="6925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ycleCloud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0" name="Graphic 739">
              <a:extLst>
                <a:ext uri="{FF2B5EF4-FFF2-40B4-BE49-F238E27FC236}">
                  <a16:creationId xmlns:a16="http://schemas.microsoft.com/office/drawing/2014/main" id="{2CBE5D5E-C26F-4A95-AEDB-33182E33B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903087" y="245558"/>
              <a:ext cx="203473" cy="203473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D85E233-447F-4392-806C-FAAE44CDAD01}"/>
              </a:ext>
            </a:extLst>
          </p:cNvPr>
          <p:cNvGrpSpPr/>
          <p:nvPr/>
        </p:nvGrpSpPr>
        <p:grpSpPr>
          <a:xfrm>
            <a:off x="5135044" y="286968"/>
            <a:ext cx="464872" cy="413204"/>
            <a:chOff x="5202774" y="286968"/>
            <a:chExt cx="464872" cy="413204"/>
          </a:xfrm>
        </p:grpSpPr>
        <p:sp>
          <p:nvSpPr>
            <p:cNvPr id="708" name="TextBox 707">
              <a:extLst>
                <a:ext uri="{FF2B5EF4-FFF2-40B4-BE49-F238E27FC236}">
                  <a16:creationId xmlns:a16="http://schemas.microsoft.com/office/drawing/2014/main" id="{6BDBDA87-1C4E-42D9-ACD8-749CA1538F08}"/>
                </a:ext>
              </a:extLst>
            </p:cNvPr>
            <p:cNvSpPr txBox="1"/>
            <p:nvPr/>
          </p:nvSpPr>
          <p:spPr>
            <a:xfrm>
              <a:off x="5202774" y="492423"/>
              <a:ext cx="464872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VMwar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ution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by </a:t>
              </a:r>
              <a:r>
                <a:rPr kumimoji="0" lang="en-US" sz="5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oudSimpl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1" name="Graphic 740">
              <a:extLst>
                <a:ext uri="{FF2B5EF4-FFF2-40B4-BE49-F238E27FC236}">
                  <a16:creationId xmlns:a16="http://schemas.microsoft.com/office/drawing/2014/main" id="{2DD0D8BC-68B0-442D-9AC4-D6E64A9F1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356292" y="286968"/>
              <a:ext cx="157836" cy="15783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7735967-CE6B-44F1-9204-83513E3429CC}"/>
              </a:ext>
            </a:extLst>
          </p:cNvPr>
          <p:cNvGrpSpPr/>
          <p:nvPr/>
        </p:nvGrpSpPr>
        <p:grpSpPr>
          <a:xfrm>
            <a:off x="2974079" y="290818"/>
            <a:ext cx="278924" cy="409354"/>
            <a:chOff x="3030290" y="290818"/>
            <a:chExt cx="278924" cy="409354"/>
          </a:xfrm>
        </p:grpSpPr>
        <p:sp>
          <p:nvSpPr>
            <p:cNvPr id="702" name="TextBox 701">
              <a:extLst>
                <a:ext uri="{FF2B5EF4-FFF2-40B4-BE49-F238E27FC236}">
                  <a16:creationId xmlns:a16="http://schemas.microsoft.com/office/drawing/2014/main" id="{48E1CBB1-F5EC-48A9-9A1E-C11DB7E1B60B}"/>
                </a:ext>
              </a:extLst>
            </p:cNvPr>
            <p:cNvSpPr txBox="1"/>
            <p:nvPr/>
          </p:nvSpPr>
          <p:spPr>
            <a:xfrm>
              <a:off x="3030290" y="492423"/>
              <a:ext cx="278924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cale Set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2" name="Graphic 741">
              <a:extLst>
                <a:ext uri="{FF2B5EF4-FFF2-40B4-BE49-F238E27FC236}">
                  <a16:creationId xmlns:a16="http://schemas.microsoft.com/office/drawing/2014/main" id="{E79A6EBC-C3C7-4F07-8A15-8EFD92498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3092955" y="290818"/>
              <a:ext cx="153592" cy="153592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7773E880-064F-4F45-8B83-1D91BF1CEC2D}"/>
              </a:ext>
            </a:extLst>
          </p:cNvPr>
          <p:cNvGrpSpPr/>
          <p:nvPr/>
        </p:nvGrpSpPr>
        <p:grpSpPr>
          <a:xfrm>
            <a:off x="1683168" y="296411"/>
            <a:ext cx="198773" cy="334511"/>
            <a:chOff x="1678648" y="296411"/>
            <a:chExt cx="198773" cy="334511"/>
          </a:xfrm>
        </p:grpSpPr>
        <p:sp>
          <p:nvSpPr>
            <p:cNvPr id="697" name="TextBox 696">
              <a:extLst>
                <a:ext uri="{FF2B5EF4-FFF2-40B4-BE49-F238E27FC236}">
                  <a16:creationId xmlns:a16="http://schemas.microsoft.com/office/drawing/2014/main" id="{D3660ABE-7816-4353-A1FB-CD85B6A0FD94}"/>
                </a:ext>
              </a:extLst>
            </p:cNvPr>
            <p:cNvSpPr txBox="1"/>
            <p:nvPr/>
          </p:nvSpPr>
          <p:spPr>
            <a:xfrm>
              <a:off x="1678648" y="492423"/>
              <a:ext cx="19877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3" name="Graphic 742">
              <a:extLst>
                <a:ext uri="{FF2B5EF4-FFF2-40B4-BE49-F238E27FC236}">
                  <a16:creationId xmlns:a16="http://schemas.microsoft.com/office/drawing/2014/main" id="{DDDCC93A-1B26-4621-A42C-0325121D6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1704321" y="296411"/>
              <a:ext cx="147429" cy="147429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AB77858-CDEA-4EA8-B5AA-71897B5C3FA3}"/>
              </a:ext>
            </a:extLst>
          </p:cNvPr>
          <p:cNvGrpSpPr/>
          <p:nvPr/>
        </p:nvGrpSpPr>
        <p:grpSpPr>
          <a:xfrm>
            <a:off x="2416196" y="307178"/>
            <a:ext cx="294954" cy="392994"/>
            <a:chOff x="2458019" y="307178"/>
            <a:chExt cx="294954" cy="392994"/>
          </a:xfrm>
        </p:grpSpPr>
        <p:sp>
          <p:nvSpPr>
            <p:cNvPr id="700" name="TextBox 699">
              <a:extLst>
                <a:ext uri="{FF2B5EF4-FFF2-40B4-BE49-F238E27FC236}">
                  <a16:creationId xmlns:a16="http://schemas.microsoft.com/office/drawing/2014/main" id="{18F5A954-1FE4-453C-8F79-0F4C9F93B186}"/>
                </a:ext>
              </a:extLst>
            </p:cNvPr>
            <p:cNvSpPr txBox="1"/>
            <p:nvPr/>
          </p:nvSpPr>
          <p:spPr>
            <a:xfrm>
              <a:off x="2458019" y="492423"/>
              <a:ext cx="294954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iner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anc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4" name="Graphic 743">
              <a:extLst>
                <a:ext uri="{FF2B5EF4-FFF2-40B4-BE49-F238E27FC236}">
                  <a16:creationId xmlns:a16="http://schemas.microsoft.com/office/drawing/2014/main" id="{C1F52D3D-45C2-4F10-9981-7DCBC9F39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2537713" y="307178"/>
              <a:ext cx="135563" cy="135563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3CBF3E5-6BDD-4BEE-898B-D16BBE43EA62}"/>
              </a:ext>
            </a:extLst>
          </p:cNvPr>
          <p:cNvGrpSpPr/>
          <p:nvPr/>
        </p:nvGrpSpPr>
        <p:grpSpPr>
          <a:xfrm>
            <a:off x="3285081" y="264538"/>
            <a:ext cx="367088" cy="435634"/>
            <a:chOff x="3348477" y="264538"/>
            <a:chExt cx="367088" cy="435634"/>
          </a:xfrm>
        </p:grpSpPr>
        <p:sp>
          <p:nvSpPr>
            <p:cNvPr id="703" name="TextBox 702">
              <a:extLst>
                <a:ext uri="{FF2B5EF4-FFF2-40B4-BE49-F238E27FC236}">
                  <a16:creationId xmlns:a16="http://schemas.microsoft.com/office/drawing/2014/main" id="{7BE26AA7-D972-42A5-B8A7-92A30BAADC17}"/>
                </a:ext>
              </a:extLst>
            </p:cNvPr>
            <p:cNvSpPr txBox="1"/>
            <p:nvPr/>
          </p:nvSpPr>
          <p:spPr>
            <a:xfrm>
              <a:off x="3348477" y="492423"/>
              <a:ext cx="367088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ubernetes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 (AKS)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5" name="Graphic 744">
              <a:extLst>
                <a:ext uri="{FF2B5EF4-FFF2-40B4-BE49-F238E27FC236}">
                  <a16:creationId xmlns:a16="http://schemas.microsoft.com/office/drawing/2014/main" id="{9EBFE4E5-D8C9-49CF-BA05-1D9422EE4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3440743" y="264538"/>
              <a:ext cx="182556" cy="182556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20801FB-6E2B-47CD-85FD-BEC1B6484E69}"/>
              </a:ext>
            </a:extLst>
          </p:cNvPr>
          <p:cNvGrpSpPr/>
          <p:nvPr/>
        </p:nvGrpSpPr>
        <p:grpSpPr>
          <a:xfrm>
            <a:off x="2220211" y="283175"/>
            <a:ext cx="163907" cy="278496"/>
            <a:chOff x="2261149" y="283175"/>
            <a:chExt cx="163907" cy="278496"/>
          </a:xfrm>
        </p:grpSpPr>
        <p:sp>
          <p:nvSpPr>
            <p:cNvPr id="699" name="TextBox 698">
              <a:extLst>
                <a:ext uri="{FF2B5EF4-FFF2-40B4-BE49-F238E27FC236}">
                  <a16:creationId xmlns:a16="http://schemas.microsoft.com/office/drawing/2014/main" id="{1B7EE099-265D-4C2C-A881-DA433868F7CD}"/>
                </a:ext>
              </a:extLst>
            </p:cNvPr>
            <p:cNvSpPr txBox="1"/>
            <p:nvPr/>
          </p:nvSpPr>
          <p:spPr>
            <a:xfrm>
              <a:off x="2267962" y="492421"/>
              <a:ext cx="157094" cy="692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tch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6" name="Graphic 745" descr="Manage Multiple">
              <a:extLst>
                <a:ext uri="{FF2B5EF4-FFF2-40B4-BE49-F238E27FC236}">
                  <a16:creationId xmlns:a16="http://schemas.microsoft.com/office/drawing/2014/main" id="{3696D98D-A7A1-4075-A6E2-1D01D29175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2261149" y="283175"/>
              <a:ext cx="162015" cy="162015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AF761F56-EAAB-4B71-BA1D-4F2695880849}"/>
              </a:ext>
            </a:extLst>
          </p:cNvPr>
          <p:cNvGrpSpPr/>
          <p:nvPr/>
        </p:nvGrpSpPr>
        <p:grpSpPr>
          <a:xfrm>
            <a:off x="3942349" y="283513"/>
            <a:ext cx="323808" cy="347409"/>
            <a:chOff x="4032746" y="283513"/>
            <a:chExt cx="323808" cy="347409"/>
          </a:xfrm>
        </p:grpSpPr>
        <p:sp>
          <p:nvSpPr>
            <p:cNvPr id="705" name="TextBox 704">
              <a:extLst>
                <a:ext uri="{FF2B5EF4-FFF2-40B4-BE49-F238E27FC236}">
                  <a16:creationId xmlns:a16="http://schemas.microsoft.com/office/drawing/2014/main" id="{5DAB8927-0647-41FE-9ABF-84632A89AD72}"/>
                </a:ext>
              </a:extLst>
            </p:cNvPr>
            <p:cNvSpPr txBox="1"/>
            <p:nvPr/>
          </p:nvSpPr>
          <p:spPr>
            <a:xfrm>
              <a:off x="4032746" y="492423"/>
              <a:ext cx="323808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QL Server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n VM'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7" name="Graphic 746">
              <a:extLst>
                <a:ext uri="{FF2B5EF4-FFF2-40B4-BE49-F238E27FC236}">
                  <a16:creationId xmlns:a16="http://schemas.microsoft.com/office/drawing/2014/main" id="{DFB3E0DA-6E2C-45B0-8D19-67BD5BF70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113829" y="283513"/>
              <a:ext cx="161643" cy="161643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956E222-D4D6-44E1-A2EB-7051D6ED8D6F}"/>
              </a:ext>
            </a:extLst>
          </p:cNvPr>
          <p:cNvGrpSpPr/>
          <p:nvPr/>
        </p:nvGrpSpPr>
        <p:grpSpPr>
          <a:xfrm>
            <a:off x="4298235" y="283513"/>
            <a:ext cx="455254" cy="416659"/>
            <a:chOff x="4351619" y="283513"/>
            <a:chExt cx="455254" cy="416659"/>
          </a:xfrm>
        </p:grpSpPr>
        <p:sp>
          <p:nvSpPr>
            <p:cNvPr id="706" name="TextBox 705">
              <a:extLst>
                <a:ext uri="{FF2B5EF4-FFF2-40B4-BE49-F238E27FC236}">
                  <a16:creationId xmlns:a16="http://schemas.microsoft.com/office/drawing/2014/main" id="{10A19941-7C69-4E60-A175-46FAD813EF3A}"/>
                </a:ext>
              </a:extLst>
            </p:cNvPr>
            <p:cNvSpPr txBox="1"/>
            <p:nvPr/>
          </p:nvSpPr>
          <p:spPr>
            <a:xfrm>
              <a:off x="4351619" y="492423"/>
              <a:ext cx="455254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AP HANA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n Azure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Large Instanc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8" name="Graphic 747">
              <a:extLst>
                <a:ext uri="{FF2B5EF4-FFF2-40B4-BE49-F238E27FC236}">
                  <a16:creationId xmlns:a16="http://schemas.microsoft.com/office/drawing/2014/main" id="{EEAB6AA7-E913-4103-8D52-267728AAD6A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98425" y="283513"/>
              <a:ext cx="161643" cy="161643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06E323F-E1E9-4F2D-88F2-0EDA116B5741}"/>
              </a:ext>
            </a:extLst>
          </p:cNvPr>
          <p:cNvGrpSpPr/>
          <p:nvPr/>
        </p:nvGrpSpPr>
        <p:grpSpPr>
          <a:xfrm>
            <a:off x="9476549" y="291209"/>
            <a:ext cx="310939" cy="339713"/>
            <a:chOff x="9391561" y="291209"/>
            <a:chExt cx="310939" cy="339713"/>
          </a:xfrm>
        </p:grpSpPr>
        <p:sp>
          <p:nvSpPr>
            <p:cNvPr id="692" name="TextBox 691">
              <a:extLst>
                <a:ext uri="{FF2B5EF4-FFF2-40B4-BE49-F238E27FC236}">
                  <a16:creationId xmlns:a16="http://schemas.microsoft.com/office/drawing/2014/main" id="{9FB42F6F-FF0D-4896-A175-B0DA7938B00B}"/>
                </a:ext>
              </a:extLst>
            </p:cNvPr>
            <p:cNvSpPr txBox="1"/>
            <p:nvPr/>
          </p:nvSpPr>
          <p:spPr>
            <a:xfrm>
              <a:off x="9391561" y="492423"/>
              <a:ext cx="3109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tch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49" name="Graphic 748">
              <a:extLst>
                <a:ext uri="{FF2B5EF4-FFF2-40B4-BE49-F238E27FC236}">
                  <a16:creationId xmlns:a16="http://schemas.microsoft.com/office/drawing/2014/main" id="{AE95C20C-6D21-47CC-BD0B-7E5CAF849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9466356" y="291209"/>
              <a:ext cx="161347" cy="161345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0836791-0F32-4B83-B386-C40FEA0AD339}"/>
              </a:ext>
            </a:extLst>
          </p:cNvPr>
          <p:cNvGrpSpPr/>
          <p:nvPr/>
        </p:nvGrpSpPr>
        <p:grpSpPr>
          <a:xfrm>
            <a:off x="8676371" y="291209"/>
            <a:ext cx="405503" cy="339713"/>
            <a:chOff x="8654750" y="291209"/>
            <a:chExt cx="405503" cy="339713"/>
          </a:xfrm>
        </p:grpSpPr>
        <p:sp>
          <p:nvSpPr>
            <p:cNvPr id="690" name="TextBox 689">
              <a:extLst>
                <a:ext uri="{FF2B5EF4-FFF2-40B4-BE49-F238E27FC236}">
                  <a16:creationId xmlns:a16="http://schemas.microsoft.com/office/drawing/2014/main" id="{299E2E11-956F-48CB-BC55-D1AC2AFEAE54}"/>
                </a:ext>
              </a:extLst>
            </p:cNvPr>
            <p:cNvSpPr txBox="1"/>
            <p:nvPr/>
          </p:nvSpPr>
          <p:spPr>
            <a:xfrm>
              <a:off x="8654750" y="492423"/>
              <a:ext cx="40550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lication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0" name="Graphic 749">
              <a:extLst>
                <a:ext uri="{FF2B5EF4-FFF2-40B4-BE49-F238E27FC236}">
                  <a16:creationId xmlns:a16="http://schemas.microsoft.com/office/drawing/2014/main" id="{F8AC1145-D7A9-42BD-AFFE-536ECF253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>
              <a:extLst>
                <a:ext uri="{96DAC541-7B7A-43D3-8B79-37D633B846F1}">
                  <asvg:svgBlip xmlns:asvg="http://schemas.microsoft.com/office/drawing/2016/SVG/main" r:embed="rId48"/>
                </a:ext>
              </a:extLst>
            </a:blip>
            <a:stretch>
              <a:fillRect/>
            </a:stretch>
          </p:blipFill>
          <p:spPr>
            <a:xfrm>
              <a:off x="8776828" y="291209"/>
              <a:ext cx="161347" cy="161345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E713817-412F-4E34-AB4F-594C5BB6D353}"/>
              </a:ext>
            </a:extLst>
          </p:cNvPr>
          <p:cNvGrpSpPr/>
          <p:nvPr/>
        </p:nvGrpSpPr>
        <p:grpSpPr>
          <a:xfrm>
            <a:off x="9768451" y="291209"/>
            <a:ext cx="256444" cy="339713"/>
            <a:chOff x="9680183" y="291209"/>
            <a:chExt cx="256444" cy="339713"/>
          </a:xfrm>
        </p:grpSpPr>
        <p:sp>
          <p:nvSpPr>
            <p:cNvPr id="693" name="TextBox 692">
              <a:extLst>
                <a:ext uri="{FF2B5EF4-FFF2-40B4-BE49-F238E27FC236}">
                  <a16:creationId xmlns:a16="http://schemas.microsoft.com/office/drawing/2014/main" id="{64889F77-F063-490D-B6B0-821FE6C663C7}"/>
                </a:ext>
              </a:extLst>
            </p:cNvPr>
            <p:cNvSpPr txBox="1"/>
            <p:nvPr/>
          </p:nvSpPr>
          <p:spPr>
            <a:xfrm>
              <a:off x="9680183" y="492423"/>
              <a:ext cx="25644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rewall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1" name="Graphic 750">
              <a:extLst>
                <a:ext uri="{FF2B5EF4-FFF2-40B4-BE49-F238E27FC236}">
                  <a16:creationId xmlns:a16="http://schemas.microsoft.com/office/drawing/2014/main" id="{0A28554B-5095-4853-9341-01722C046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>
              <a:extLst>
                <a:ext uri="{96DAC541-7B7A-43D3-8B79-37D633B846F1}">
                  <asvg:svgBlip xmlns:asvg="http://schemas.microsoft.com/office/drawing/2016/SVG/main" r:embed="rId51"/>
                </a:ext>
              </a:extLst>
            </a:blip>
            <a:stretch>
              <a:fillRect/>
            </a:stretch>
          </p:blipFill>
          <p:spPr>
            <a:xfrm>
              <a:off x="9727732" y="291209"/>
              <a:ext cx="161347" cy="161345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FD93515-E462-47F5-8166-1F46E1B6C69E}"/>
              </a:ext>
            </a:extLst>
          </p:cNvPr>
          <p:cNvGrpSpPr/>
          <p:nvPr/>
        </p:nvGrpSpPr>
        <p:grpSpPr>
          <a:xfrm>
            <a:off x="9062837" y="303654"/>
            <a:ext cx="432749" cy="327268"/>
            <a:chOff x="9006377" y="303654"/>
            <a:chExt cx="432749" cy="327268"/>
          </a:xfrm>
        </p:grpSpPr>
        <p:sp>
          <p:nvSpPr>
            <p:cNvPr id="691" name="TextBox 690">
              <a:extLst>
                <a:ext uri="{FF2B5EF4-FFF2-40B4-BE49-F238E27FC236}">
                  <a16:creationId xmlns:a16="http://schemas.microsoft.com/office/drawing/2014/main" id="{54D87C9A-13D8-412D-8FEF-6A513BB79F5D}"/>
                </a:ext>
              </a:extLst>
            </p:cNvPr>
            <p:cNvSpPr txBox="1"/>
            <p:nvPr/>
          </p:nvSpPr>
          <p:spPr>
            <a:xfrm>
              <a:off x="9006377" y="492423"/>
              <a:ext cx="4327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DoS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tection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3" name="Graphic 752">
              <a:extLst>
                <a:ext uri="{FF2B5EF4-FFF2-40B4-BE49-F238E27FC236}">
                  <a16:creationId xmlns:a16="http://schemas.microsoft.com/office/drawing/2014/main" id="{EBC9A1BC-CD73-49AE-A5C8-2E2063FD7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>
              <a:extLst>
                <a:ext uri="{96DAC541-7B7A-43D3-8B79-37D633B846F1}">
                  <asvg:svgBlip xmlns:asvg="http://schemas.microsoft.com/office/drawing/2016/SVG/main" r:embed="rId54"/>
                </a:ext>
              </a:extLst>
            </a:blip>
            <a:stretch>
              <a:fillRect/>
            </a:stretch>
          </p:blipFill>
          <p:spPr>
            <a:xfrm>
              <a:off x="9168616" y="303654"/>
              <a:ext cx="108267" cy="147631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0095551-A15E-4EBC-8703-3B1C060B77C6}"/>
              </a:ext>
            </a:extLst>
          </p:cNvPr>
          <p:cNvGrpSpPr/>
          <p:nvPr/>
        </p:nvGrpSpPr>
        <p:grpSpPr>
          <a:xfrm>
            <a:off x="7367525" y="284518"/>
            <a:ext cx="216374" cy="346404"/>
            <a:chOff x="7381234" y="284518"/>
            <a:chExt cx="216374" cy="346404"/>
          </a:xfrm>
        </p:grpSpPr>
        <p:sp>
          <p:nvSpPr>
            <p:cNvPr id="685" name="TextBox 684">
              <a:extLst>
                <a:ext uri="{FF2B5EF4-FFF2-40B4-BE49-F238E27FC236}">
                  <a16:creationId xmlns:a16="http://schemas.microsoft.com/office/drawing/2014/main" id="{9546D205-CDA9-4767-A8E8-B1075D807FBB}"/>
                </a:ext>
              </a:extLst>
            </p:cNvPr>
            <p:cNvSpPr txBox="1"/>
            <p:nvPr/>
          </p:nvSpPr>
          <p:spPr>
            <a:xfrm>
              <a:off x="7381234" y="492423"/>
              <a:ext cx="2163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N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4" name="Graphic 753">
              <a:extLst>
                <a:ext uri="{FF2B5EF4-FFF2-40B4-BE49-F238E27FC236}">
                  <a16:creationId xmlns:a16="http://schemas.microsoft.com/office/drawing/2014/main" id="{4F1E586D-23C4-4596-AC11-843EBDCD3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>
              <a:extLst>
                <a:ext uri="{96DAC541-7B7A-43D3-8B79-37D633B846F1}">
                  <asvg:svgBlip xmlns:asvg="http://schemas.microsoft.com/office/drawing/2016/SVG/main" r:embed="rId57"/>
                </a:ext>
              </a:extLst>
            </a:blip>
            <a:stretch>
              <a:fillRect/>
            </a:stretch>
          </p:blipFill>
          <p:spPr>
            <a:xfrm>
              <a:off x="7405060" y="284518"/>
              <a:ext cx="168720" cy="168720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E34E3CC-6483-4F34-A650-5596ED121AA8}"/>
              </a:ext>
            </a:extLst>
          </p:cNvPr>
          <p:cNvGrpSpPr/>
          <p:nvPr/>
        </p:nvGrpSpPr>
        <p:grpSpPr>
          <a:xfrm>
            <a:off x="10005858" y="290916"/>
            <a:ext cx="432749" cy="340006"/>
            <a:chOff x="9901695" y="290916"/>
            <a:chExt cx="432749" cy="340006"/>
          </a:xfrm>
        </p:grpSpPr>
        <p:sp>
          <p:nvSpPr>
            <p:cNvPr id="694" name="TextBox 693">
              <a:extLst>
                <a:ext uri="{FF2B5EF4-FFF2-40B4-BE49-F238E27FC236}">
                  <a16:creationId xmlns:a16="http://schemas.microsoft.com/office/drawing/2014/main" id="{19F50FE6-F9F2-4447-8442-18FE9107A544}"/>
                </a:ext>
              </a:extLst>
            </p:cNvPr>
            <p:cNvSpPr txBox="1"/>
            <p:nvPr/>
          </p:nvSpPr>
          <p:spPr>
            <a:xfrm>
              <a:off x="9901695" y="492423"/>
              <a:ext cx="4327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Front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oor 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5" name="Graphic 754">
              <a:extLst>
                <a:ext uri="{FF2B5EF4-FFF2-40B4-BE49-F238E27FC236}">
                  <a16:creationId xmlns:a16="http://schemas.microsoft.com/office/drawing/2014/main" id="{3CE390F1-525D-4772-80F6-23C46F84B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extLst>
                <a:ext uri="{96DAC541-7B7A-43D3-8B79-37D633B846F1}">
                  <asvg:svgBlip xmlns:asvg="http://schemas.microsoft.com/office/drawing/2016/SVG/main" r:embed="rId60"/>
                </a:ext>
              </a:extLst>
            </a:blip>
            <a:stretch>
              <a:fillRect/>
            </a:stretch>
          </p:blipFill>
          <p:spPr>
            <a:xfrm>
              <a:off x="10037233" y="290916"/>
              <a:ext cx="161671" cy="161669"/>
            </a:xfrm>
            <a:prstGeom prst="rect">
              <a:avLst/>
            </a:prstGeom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A5620E6-19AD-4524-8C92-42EA4910E911}"/>
              </a:ext>
            </a:extLst>
          </p:cNvPr>
          <p:cNvGrpSpPr/>
          <p:nvPr/>
        </p:nvGrpSpPr>
        <p:grpSpPr>
          <a:xfrm>
            <a:off x="8139049" y="279820"/>
            <a:ext cx="286896" cy="351102"/>
            <a:chOff x="8130298" y="279820"/>
            <a:chExt cx="286896" cy="351102"/>
          </a:xfrm>
        </p:grpSpPr>
        <p:sp>
          <p:nvSpPr>
            <p:cNvPr id="688" name="TextBox 687">
              <a:extLst>
                <a:ext uri="{FF2B5EF4-FFF2-40B4-BE49-F238E27FC236}">
                  <a16:creationId xmlns:a16="http://schemas.microsoft.com/office/drawing/2014/main" id="{60C70DF5-99ED-4475-849F-F93F1D5BA86F}"/>
                </a:ext>
              </a:extLst>
            </p:cNvPr>
            <p:cNvSpPr txBox="1"/>
            <p:nvPr/>
          </p:nvSpPr>
          <p:spPr>
            <a:xfrm>
              <a:off x="8130298" y="492423"/>
              <a:ext cx="28689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ad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lanc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6" name="Graphic 755">
              <a:extLst>
                <a:ext uri="{FF2B5EF4-FFF2-40B4-BE49-F238E27FC236}">
                  <a16:creationId xmlns:a16="http://schemas.microsoft.com/office/drawing/2014/main" id="{5EEB151D-3D09-4616-8634-633C2276B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>
              <a:extLst>
                <a:ext uri="{96DAC541-7B7A-43D3-8B79-37D633B846F1}">
                  <asvg:svgBlip xmlns:asvg="http://schemas.microsoft.com/office/drawing/2016/SVG/main" r:embed="rId63"/>
                </a:ext>
              </a:extLst>
            </a:blip>
            <a:stretch>
              <a:fillRect/>
            </a:stretch>
          </p:blipFill>
          <p:spPr>
            <a:xfrm>
              <a:off x="8186796" y="279820"/>
              <a:ext cx="173899" cy="173897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E46D225-6FE1-43C0-B88B-FEEBE66E7F96}"/>
              </a:ext>
            </a:extLst>
          </p:cNvPr>
          <p:cNvGrpSpPr/>
          <p:nvPr/>
        </p:nvGrpSpPr>
        <p:grpSpPr>
          <a:xfrm>
            <a:off x="7835928" y="277900"/>
            <a:ext cx="322158" cy="353022"/>
            <a:chOff x="7843079" y="277900"/>
            <a:chExt cx="322158" cy="353022"/>
          </a:xfrm>
        </p:grpSpPr>
        <p:sp>
          <p:nvSpPr>
            <p:cNvPr id="687" name="TextBox 686">
              <a:extLst>
                <a:ext uri="{FF2B5EF4-FFF2-40B4-BE49-F238E27FC236}">
                  <a16:creationId xmlns:a16="http://schemas.microsoft.com/office/drawing/2014/main" id="{05FA61EF-A42E-43A1-9A89-F2FBE89A56E8}"/>
                </a:ext>
              </a:extLst>
            </p:cNvPr>
            <p:cNvSpPr txBox="1"/>
            <p:nvPr/>
          </p:nvSpPr>
          <p:spPr>
            <a:xfrm>
              <a:off x="7843079" y="492423"/>
              <a:ext cx="32215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ffic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Manag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7" name="Graphic 756">
              <a:extLst>
                <a:ext uri="{FF2B5EF4-FFF2-40B4-BE49-F238E27FC236}">
                  <a16:creationId xmlns:a16="http://schemas.microsoft.com/office/drawing/2014/main" id="{E6181276-1AB2-4372-B3AB-5BA64F5686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5">
              <a:extLst>
                <a:ext uri="{96DAC541-7B7A-43D3-8B79-37D633B846F1}">
                  <asvg:svgBlip xmlns:asvg="http://schemas.microsoft.com/office/drawing/2016/SVG/main" r:embed="rId66"/>
                </a:ext>
              </a:extLst>
            </a:blip>
            <a:stretch>
              <a:fillRect/>
            </a:stretch>
          </p:blipFill>
          <p:spPr>
            <a:xfrm>
              <a:off x="7916151" y="277900"/>
              <a:ext cx="176016" cy="176013"/>
            </a:xfrm>
            <a:prstGeom prst="rect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4F41379-458D-49A7-9E0D-B6E5FC2F0D4F}"/>
              </a:ext>
            </a:extLst>
          </p:cNvPr>
          <p:cNvGrpSpPr/>
          <p:nvPr/>
        </p:nvGrpSpPr>
        <p:grpSpPr>
          <a:xfrm>
            <a:off x="8406908" y="291209"/>
            <a:ext cx="288500" cy="339713"/>
            <a:chOff x="8407505" y="291209"/>
            <a:chExt cx="288500" cy="339713"/>
          </a:xfrm>
        </p:grpSpPr>
        <p:sp>
          <p:nvSpPr>
            <p:cNvPr id="689" name="TextBox 688">
              <a:extLst>
                <a:ext uri="{FF2B5EF4-FFF2-40B4-BE49-F238E27FC236}">
                  <a16:creationId xmlns:a16="http://schemas.microsoft.com/office/drawing/2014/main" id="{1560EF57-2722-44C8-A796-3CE649389AF4}"/>
                </a:ext>
              </a:extLst>
            </p:cNvPr>
            <p:cNvSpPr txBox="1"/>
            <p:nvPr/>
          </p:nvSpPr>
          <p:spPr>
            <a:xfrm>
              <a:off x="8407505" y="492423"/>
              <a:ext cx="2885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PN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6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8" name="Graphic 757">
              <a:extLst>
                <a:ext uri="{FF2B5EF4-FFF2-40B4-BE49-F238E27FC236}">
                  <a16:creationId xmlns:a16="http://schemas.microsoft.com/office/drawing/2014/main" id="{B6EA444A-8902-46BD-8F2A-653DD1F35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8">
              <a:extLst>
                <a:ext uri="{96DAC541-7B7A-43D3-8B79-37D633B846F1}">
                  <asvg:svgBlip xmlns:asvg="http://schemas.microsoft.com/office/drawing/2016/SVG/main" r:embed="rId69"/>
                </a:ext>
              </a:extLst>
            </a:blip>
            <a:stretch>
              <a:fillRect/>
            </a:stretch>
          </p:blipFill>
          <p:spPr>
            <a:xfrm>
              <a:off x="8471079" y="291209"/>
              <a:ext cx="161347" cy="161345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54DB42F7-5B92-4D81-9160-CCE6DDA69555}"/>
              </a:ext>
            </a:extLst>
          </p:cNvPr>
          <p:cNvGrpSpPr/>
          <p:nvPr/>
        </p:nvGrpSpPr>
        <p:grpSpPr>
          <a:xfrm>
            <a:off x="7564862" y="261627"/>
            <a:ext cx="290103" cy="369295"/>
            <a:chOff x="7594229" y="261627"/>
            <a:chExt cx="290103" cy="369295"/>
          </a:xfrm>
        </p:grpSpPr>
        <p:sp>
          <p:nvSpPr>
            <p:cNvPr id="686" name="TextBox 685">
              <a:extLst>
                <a:ext uri="{FF2B5EF4-FFF2-40B4-BE49-F238E27FC236}">
                  <a16:creationId xmlns:a16="http://schemas.microsoft.com/office/drawing/2014/main" id="{969C7381-E7A9-4093-86D9-8654C2F6FEBA}"/>
                </a:ext>
              </a:extLst>
            </p:cNvPr>
            <p:cNvSpPr txBox="1"/>
            <p:nvPr/>
          </p:nvSpPr>
          <p:spPr>
            <a:xfrm>
              <a:off x="7594229" y="492423"/>
              <a:ext cx="29010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59" name="Graphic 758">
              <a:extLst>
                <a:ext uri="{FF2B5EF4-FFF2-40B4-BE49-F238E27FC236}">
                  <a16:creationId xmlns:a16="http://schemas.microsoft.com/office/drawing/2014/main" id="{018A1023-B7B5-459B-AD5A-804223163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>
              <a:extLst>
                <a:ext uri="{96DAC541-7B7A-43D3-8B79-37D633B846F1}">
                  <asvg:svgBlip xmlns:asvg="http://schemas.microsoft.com/office/drawing/2016/SVG/main" r:embed="rId72"/>
                </a:ext>
              </a:extLst>
            </a:blip>
            <a:stretch>
              <a:fillRect/>
            </a:stretch>
          </p:blipFill>
          <p:spPr>
            <a:xfrm>
              <a:off x="7642307" y="261627"/>
              <a:ext cx="193947" cy="193947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E9C8E44-5564-4AD2-B41F-7463C37C89E6}"/>
              </a:ext>
            </a:extLst>
          </p:cNvPr>
          <p:cNvGrpSpPr/>
          <p:nvPr/>
        </p:nvGrpSpPr>
        <p:grpSpPr>
          <a:xfrm>
            <a:off x="6190225" y="297783"/>
            <a:ext cx="418324" cy="333139"/>
            <a:chOff x="6257955" y="297783"/>
            <a:chExt cx="418324" cy="333139"/>
          </a:xfrm>
        </p:grpSpPr>
        <p:sp>
          <p:nvSpPr>
            <p:cNvPr id="682" name="TextBox 681">
              <a:extLst>
                <a:ext uri="{FF2B5EF4-FFF2-40B4-BE49-F238E27FC236}">
                  <a16:creationId xmlns:a16="http://schemas.microsoft.com/office/drawing/2014/main" id="{9E1828D2-7132-40B7-9D3F-23B24A94AA12}"/>
                </a:ext>
              </a:extLst>
            </p:cNvPr>
            <p:cNvSpPr txBox="1"/>
            <p:nvPr/>
          </p:nvSpPr>
          <p:spPr>
            <a:xfrm>
              <a:off x="6257955" y="492423"/>
              <a:ext cx="41832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ing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verview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760" name="Freeform 162">
              <a:extLst>
                <a:ext uri="{FF2B5EF4-FFF2-40B4-BE49-F238E27FC236}">
                  <a16:creationId xmlns:a16="http://schemas.microsoft.com/office/drawing/2014/main" id="{5901C97D-6A73-4C22-84E9-2C4CF1AA9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926" y="297783"/>
              <a:ext cx="237756" cy="154100"/>
            </a:xfrm>
            <a:custGeom>
              <a:avLst/>
              <a:gdLst>
                <a:gd name="connsiteX0" fmla="*/ 3730592 w 6186123"/>
                <a:gd name="connsiteY0" fmla="*/ 704234 h 4009506"/>
                <a:gd name="connsiteX1" fmla="*/ 4905742 w 6186123"/>
                <a:gd name="connsiteY1" fmla="*/ 1421442 h 4009506"/>
                <a:gd name="connsiteX2" fmla="*/ 5026805 w 6186123"/>
                <a:gd name="connsiteY2" fmla="*/ 1500420 h 4009506"/>
                <a:gd name="connsiteX3" fmla="*/ 6025568 w 6186123"/>
                <a:gd name="connsiteY3" fmla="*/ 2138323 h 4009506"/>
                <a:gd name="connsiteX4" fmla="*/ 5393018 w 6186123"/>
                <a:gd name="connsiteY4" fmla="*/ 3921415 h 4009506"/>
                <a:gd name="connsiteX5" fmla="*/ 4896663 w 6186123"/>
                <a:gd name="connsiteY5" fmla="*/ 4009506 h 4009506"/>
                <a:gd name="connsiteX6" fmla="*/ 3667881 w 6186123"/>
                <a:gd name="connsiteY6" fmla="*/ 4009506 h 4009506"/>
                <a:gd name="connsiteX7" fmla="*/ 2433046 w 6186123"/>
                <a:gd name="connsiteY7" fmla="*/ 4009506 h 4009506"/>
                <a:gd name="connsiteX8" fmla="*/ 1376778 w 6186123"/>
                <a:gd name="connsiteY8" fmla="*/ 3274399 h 4009506"/>
                <a:gd name="connsiteX9" fmla="*/ 1328353 w 6186123"/>
                <a:gd name="connsiteY9" fmla="*/ 3098216 h 4009506"/>
                <a:gd name="connsiteX10" fmla="*/ 1367698 w 6186123"/>
                <a:gd name="connsiteY10" fmla="*/ 3049614 h 4009506"/>
                <a:gd name="connsiteX11" fmla="*/ 1410070 w 6186123"/>
                <a:gd name="connsiteY11" fmla="*/ 3049614 h 4009506"/>
                <a:gd name="connsiteX12" fmla="*/ 3110995 w 6186123"/>
                <a:gd name="connsiteY12" fmla="*/ 3046576 h 4009506"/>
                <a:gd name="connsiteX13" fmla="*/ 3244163 w 6186123"/>
                <a:gd name="connsiteY13" fmla="*/ 3101253 h 4009506"/>
                <a:gd name="connsiteX14" fmla="*/ 3934218 w 6186123"/>
                <a:gd name="connsiteY14" fmla="*/ 3234909 h 4009506"/>
                <a:gd name="connsiteX15" fmla="*/ 4297405 w 6186123"/>
                <a:gd name="connsiteY15" fmla="*/ 2627383 h 4009506"/>
                <a:gd name="connsiteX16" fmla="*/ 3897899 w 6186123"/>
                <a:gd name="connsiteY16" fmla="*/ 2089721 h 4009506"/>
                <a:gd name="connsiteX17" fmla="*/ 3235083 w 6186123"/>
                <a:gd name="connsiteY17" fmla="*/ 2238565 h 4009506"/>
                <a:gd name="connsiteX18" fmla="*/ 3126127 w 6186123"/>
                <a:gd name="connsiteY18" fmla="*/ 2287168 h 4009506"/>
                <a:gd name="connsiteX19" fmla="*/ 1594690 w 6186123"/>
                <a:gd name="connsiteY19" fmla="*/ 2284130 h 4009506"/>
                <a:gd name="connsiteX20" fmla="*/ 1564424 w 6186123"/>
                <a:gd name="connsiteY20" fmla="*/ 2284130 h 4009506"/>
                <a:gd name="connsiteX21" fmla="*/ 1543238 w 6186123"/>
                <a:gd name="connsiteY21" fmla="*/ 2235528 h 4009506"/>
                <a:gd name="connsiteX22" fmla="*/ 1861027 w 6186123"/>
                <a:gd name="connsiteY22" fmla="*/ 1949990 h 4009506"/>
                <a:gd name="connsiteX23" fmla="*/ 2248426 w 6186123"/>
                <a:gd name="connsiteY23" fmla="*/ 1816334 h 4009506"/>
                <a:gd name="connsiteX24" fmla="*/ 2318037 w 6186123"/>
                <a:gd name="connsiteY24" fmla="*/ 1746469 h 4009506"/>
                <a:gd name="connsiteX25" fmla="*/ 3395491 w 6186123"/>
                <a:gd name="connsiteY25" fmla="*/ 734936 h 4009506"/>
                <a:gd name="connsiteX26" fmla="*/ 3730592 w 6186123"/>
                <a:gd name="connsiteY26" fmla="*/ 704234 h 4009506"/>
                <a:gd name="connsiteX27" fmla="*/ 2300746 w 6186123"/>
                <a:gd name="connsiteY27" fmla="*/ 8 h 4009506"/>
                <a:gd name="connsiteX28" fmla="*/ 3310471 w 6186123"/>
                <a:gd name="connsiteY28" fmla="*/ 548954 h 4009506"/>
                <a:gd name="connsiteX29" fmla="*/ 3286263 w 6186123"/>
                <a:gd name="connsiteY29" fmla="*/ 615813 h 4009506"/>
                <a:gd name="connsiteX30" fmla="*/ 3098646 w 6186123"/>
                <a:gd name="connsiteY30" fmla="*/ 679632 h 4009506"/>
                <a:gd name="connsiteX31" fmla="*/ 2980630 w 6186123"/>
                <a:gd name="connsiteY31" fmla="*/ 652281 h 4009506"/>
                <a:gd name="connsiteX32" fmla="*/ 2281608 w 6186123"/>
                <a:gd name="connsiteY32" fmla="*/ 321028 h 4009506"/>
                <a:gd name="connsiteX33" fmla="*/ 1522065 w 6186123"/>
                <a:gd name="connsiteY33" fmla="*/ 706983 h 4009506"/>
                <a:gd name="connsiteX34" fmla="*/ 1367735 w 6186123"/>
                <a:gd name="connsiteY34" fmla="*/ 1041275 h 4009506"/>
                <a:gd name="connsiteX35" fmla="*/ 1279979 w 6186123"/>
                <a:gd name="connsiteY35" fmla="*/ 1108133 h 4009506"/>
                <a:gd name="connsiteX36" fmla="*/ 889616 w 6186123"/>
                <a:gd name="connsiteY36" fmla="*/ 1120289 h 4009506"/>
                <a:gd name="connsiteX37" fmla="*/ 323741 w 6186123"/>
                <a:gd name="connsiteY37" fmla="*/ 1828380 h 4009506"/>
                <a:gd name="connsiteX38" fmla="*/ 910798 w 6186123"/>
                <a:gd name="connsiteY38" fmla="*/ 2500003 h 4009506"/>
                <a:gd name="connsiteX39" fmla="*/ 1053024 w 6186123"/>
                <a:gd name="connsiteY39" fmla="*/ 2509120 h 4009506"/>
                <a:gd name="connsiteX40" fmla="*/ 2124252 w 6186123"/>
                <a:gd name="connsiteY40" fmla="*/ 2509120 h 4009506"/>
                <a:gd name="connsiteX41" fmla="*/ 3243898 w 6186123"/>
                <a:gd name="connsiteY41" fmla="*/ 2512159 h 4009506"/>
                <a:gd name="connsiteX42" fmla="*/ 3346784 w 6186123"/>
                <a:gd name="connsiteY42" fmla="*/ 2457457 h 4009506"/>
                <a:gd name="connsiteX43" fmla="*/ 3800694 w 6186123"/>
                <a:gd name="connsiteY43" fmla="*/ 2293350 h 4009506"/>
                <a:gd name="connsiteX44" fmla="*/ 4085145 w 6186123"/>
                <a:gd name="connsiteY44" fmla="*/ 2688422 h 4009506"/>
                <a:gd name="connsiteX45" fmla="*/ 3776486 w 6186123"/>
                <a:gd name="connsiteY45" fmla="*/ 3068299 h 4009506"/>
                <a:gd name="connsiteX46" fmla="*/ 3358888 w 6186123"/>
                <a:gd name="connsiteY46" fmla="*/ 2904192 h 4009506"/>
                <a:gd name="connsiteX47" fmla="*/ 3240872 w 6186123"/>
                <a:gd name="connsiteY47" fmla="*/ 2843412 h 4009506"/>
                <a:gd name="connsiteX48" fmla="*/ 1062102 w 6186123"/>
                <a:gd name="connsiteY48" fmla="*/ 2843412 h 4009506"/>
                <a:gd name="connsiteX49" fmla="*/ 196646 w 6186123"/>
                <a:gd name="connsiteY49" fmla="*/ 2417949 h 4009506"/>
                <a:gd name="connsiteX50" fmla="*/ 886590 w 6186123"/>
                <a:gd name="connsiteY50" fmla="*/ 795115 h 4009506"/>
                <a:gd name="connsiteX51" fmla="*/ 1059076 w 6186123"/>
                <a:gd name="connsiteY51" fmla="*/ 785998 h 4009506"/>
                <a:gd name="connsiteX52" fmla="*/ 1134728 w 6186123"/>
                <a:gd name="connsiteY52" fmla="*/ 737373 h 4009506"/>
                <a:gd name="connsiteX53" fmla="*/ 2118200 w 6186123"/>
                <a:gd name="connsiteY53" fmla="*/ 11048 h 4009506"/>
                <a:gd name="connsiteX54" fmla="*/ 2300746 w 6186123"/>
                <a:gd name="connsiteY54" fmla="*/ 8 h 400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186123" h="4009506">
                  <a:moveTo>
                    <a:pt x="3730592" y="704234"/>
                  </a:moveTo>
                  <a:cubicBezTo>
                    <a:pt x="4211053" y="720045"/>
                    <a:pt x="4662293" y="989528"/>
                    <a:pt x="4905742" y="1421442"/>
                  </a:cubicBezTo>
                  <a:cubicBezTo>
                    <a:pt x="4932981" y="1476119"/>
                    <a:pt x="4969300" y="1497383"/>
                    <a:pt x="5026805" y="1500420"/>
                  </a:cubicBezTo>
                  <a:cubicBezTo>
                    <a:pt x="5468682" y="1539910"/>
                    <a:pt x="5801603" y="1755582"/>
                    <a:pt x="6025568" y="2138323"/>
                  </a:cubicBezTo>
                  <a:cubicBezTo>
                    <a:pt x="6400861" y="2782302"/>
                    <a:pt x="6089125" y="3657141"/>
                    <a:pt x="5393018" y="3921415"/>
                  </a:cubicBezTo>
                  <a:cubicBezTo>
                    <a:pt x="5232610" y="3982167"/>
                    <a:pt x="5066150" y="4009506"/>
                    <a:pt x="4896663" y="4009506"/>
                  </a:cubicBezTo>
                  <a:cubicBezTo>
                    <a:pt x="4488078" y="4009506"/>
                    <a:pt x="4076466" y="4009506"/>
                    <a:pt x="3667881" y="4009506"/>
                  </a:cubicBezTo>
                  <a:cubicBezTo>
                    <a:pt x="3256269" y="4009506"/>
                    <a:pt x="2844658" y="4009506"/>
                    <a:pt x="2433046" y="4009506"/>
                  </a:cubicBezTo>
                  <a:cubicBezTo>
                    <a:pt x="1948797" y="4009506"/>
                    <a:pt x="1543238" y="3730044"/>
                    <a:pt x="1376778" y="3274399"/>
                  </a:cubicBezTo>
                  <a:cubicBezTo>
                    <a:pt x="1355592" y="3216684"/>
                    <a:pt x="1343486" y="3158969"/>
                    <a:pt x="1328353" y="3098216"/>
                  </a:cubicBezTo>
                  <a:cubicBezTo>
                    <a:pt x="1319273" y="3064802"/>
                    <a:pt x="1334406" y="3049614"/>
                    <a:pt x="1367698" y="3049614"/>
                  </a:cubicBezTo>
                  <a:cubicBezTo>
                    <a:pt x="1382831" y="3049614"/>
                    <a:pt x="1394937" y="3049614"/>
                    <a:pt x="1410070" y="3049614"/>
                  </a:cubicBezTo>
                  <a:cubicBezTo>
                    <a:pt x="1976036" y="3049614"/>
                    <a:pt x="2545028" y="3049614"/>
                    <a:pt x="3110995" y="3046576"/>
                  </a:cubicBezTo>
                  <a:cubicBezTo>
                    <a:pt x="3165473" y="3046576"/>
                    <a:pt x="3204818" y="3061764"/>
                    <a:pt x="3244163" y="3101253"/>
                  </a:cubicBezTo>
                  <a:cubicBezTo>
                    <a:pt x="3425756" y="3289587"/>
                    <a:pt x="3698146" y="3341227"/>
                    <a:pt x="3934218" y="3234909"/>
                  </a:cubicBezTo>
                  <a:cubicBezTo>
                    <a:pt x="4167263" y="3128592"/>
                    <a:pt x="4318590" y="2885581"/>
                    <a:pt x="4297405" y="2627383"/>
                  </a:cubicBezTo>
                  <a:cubicBezTo>
                    <a:pt x="4276219" y="2369184"/>
                    <a:pt x="4143050" y="2180850"/>
                    <a:pt x="3897899" y="2089721"/>
                  </a:cubicBezTo>
                  <a:cubicBezTo>
                    <a:pt x="3652748" y="1998592"/>
                    <a:pt x="3425756" y="2050232"/>
                    <a:pt x="3235083" y="2238565"/>
                  </a:cubicBezTo>
                  <a:cubicBezTo>
                    <a:pt x="3204818" y="2268942"/>
                    <a:pt x="3171526" y="2287168"/>
                    <a:pt x="3126127" y="2287168"/>
                  </a:cubicBezTo>
                  <a:cubicBezTo>
                    <a:pt x="2617666" y="2284130"/>
                    <a:pt x="2106178" y="2284130"/>
                    <a:pt x="1594690" y="2284130"/>
                  </a:cubicBezTo>
                  <a:cubicBezTo>
                    <a:pt x="1585610" y="2284130"/>
                    <a:pt x="1576531" y="2284130"/>
                    <a:pt x="1564424" y="2284130"/>
                  </a:cubicBezTo>
                  <a:cubicBezTo>
                    <a:pt x="1522053" y="2284130"/>
                    <a:pt x="1515999" y="2268942"/>
                    <a:pt x="1543238" y="2235528"/>
                  </a:cubicBezTo>
                  <a:cubicBezTo>
                    <a:pt x="1631009" y="2120098"/>
                    <a:pt x="1736938" y="2022893"/>
                    <a:pt x="1861027" y="1949990"/>
                  </a:cubicBezTo>
                  <a:cubicBezTo>
                    <a:pt x="1982089" y="1883162"/>
                    <a:pt x="2109204" y="1831522"/>
                    <a:pt x="2248426" y="1816334"/>
                  </a:cubicBezTo>
                  <a:cubicBezTo>
                    <a:pt x="2290798" y="1813297"/>
                    <a:pt x="2305931" y="1785958"/>
                    <a:pt x="2318037" y="1746469"/>
                  </a:cubicBezTo>
                  <a:cubicBezTo>
                    <a:pt x="2484497" y="1202732"/>
                    <a:pt x="2841631" y="859479"/>
                    <a:pt x="3395491" y="734936"/>
                  </a:cubicBezTo>
                  <a:cubicBezTo>
                    <a:pt x="3507284" y="710446"/>
                    <a:pt x="3619716" y="700585"/>
                    <a:pt x="3730592" y="704234"/>
                  </a:cubicBezTo>
                  <a:close/>
                  <a:moveTo>
                    <a:pt x="2300746" y="8"/>
                  </a:moveTo>
                  <a:cubicBezTo>
                    <a:pt x="2715707" y="1504"/>
                    <a:pt x="3053634" y="192630"/>
                    <a:pt x="3310471" y="548954"/>
                  </a:cubicBezTo>
                  <a:cubicBezTo>
                    <a:pt x="3337706" y="588461"/>
                    <a:pt x="3334680" y="603657"/>
                    <a:pt x="3286263" y="615813"/>
                  </a:cubicBezTo>
                  <a:cubicBezTo>
                    <a:pt x="3222715" y="627969"/>
                    <a:pt x="3159168" y="649242"/>
                    <a:pt x="3098646" y="679632"/>
                  </a:cubicBezTo>
                  <a:cubicBezTo>
                    <a:pt x="3050229" y="703944"/>
                    <a:pt x="3016943" y="697866"/>
                    <a:pt x="2980630" y="652281"/>
                  </a:cubicBezTo>
                  <a:cubicBezTo>
                    <a:pt x="2799066" y="436511"/>
                    <a:pt x="2560006" y="321028"/>
                    <a:pt x="2281608" y="321028"/>
                  </a:cubicBezTo>
                  <a:cubicBezTo>
                    <a:pt x="1966897" y="321028"/>
                    <a:pt x="1712707" y="451706"/>
                    <a:pt x="1522065" y="706983"/>
                  </a:cubicBezTo>
                  <a:cubicBezTo>
                    <a:pt x="1446413" y="807271"/>
                    <a:pt x="1394970" y="916675"/>
                    <a:pt x="1367735" y="1041275"/>
                  </a:cubicBezTo>
                  <a:cubicBezTo>
                    <a:pt x="1358657" y="1092938"/>
                    <a:pt x="1331422" y="1108133"/>
                    <a:pt x="1279979" y="1108133"/>
                  </a:cubicBezTo>
                  <a:cubicBezTo>
                    <a:pt x="1149858" y="1108133"/>
                    <a:pt x="1019737" y="1095977"/>
                    <a:pt x="889616" y="1120289"/>
                  </a:cubicBezTo>
                  <a:cubicBezTo>
                    <a:pt x="553722" y="1181070"/>
                    <a:pt x="317689" y="1472815"/>
                    <a:pt x="323741" y="1828380"/>
                  </a:cubicBezTo>
                  <a:cubicBezTo>
                    <a:pt x="326767" y="2165711"/>
                    <a:pt x="574905" y="2448340"/>
                    <a:pt x="910798" y="2500003"/>
                  </a:cubicBezTo>
                  <a:cubicBezTo>
                    <a:pt x="956189" y="2506081"/>
                    <a:pt x="1004607" y="2509120"/>
                    <a:pt x="1053024" y="2509120"/>
                  </a:cubicBezTo>
                  <a:cubicBezTo>
                    <a:pt x="1410100" y="2509120"/>
                    <a:pt x="1767176" y="2509120"/>
                    <a:pt x="2124252" y="2509120"/>
                  </a:cubicBezTo>
                  <a:cubicBezTo>
                    <a:pt x="2499485" y="2509120"/>
                    <a:pt x="2871691" y="2509120"/>
                    <a:pt x="3243898" y="2512159"/>
                  </a:cubicBezTo>
                  <a:cubicBezTo>
                    <a:pt x="3289289" y="2512159"/>
                    <a:pt x="3319550" y="2500003"/>
                    <a:pt x="3346784" y="2457457"/>
                  </a:cubicBezTo>
                  <a:cubicBezTo>
                    <a:pt x="3446644" y="2302467"/>
                    <a:pt x="3631235" y="2238647"/>
                    <a:pt x="3800694" y="2293350"/>
                  </a:cubicBezTo>
                  <a:cubicBezTo>
                    <a:pt x="3973180" y="2348052"/>
                    <a:pt x="4094223" y="2515198"/>
                    <a:pt x="4085145" y="2688422"/>
                  </a:cubicBezTo>
                  <a:cubicBezTo>
                    <a:pt x="4079093" y="2870763"/>
                    <a:pt x="3955024" y="3022714"/>
                    <a:pt x="3776486" y="3068299"/>
                  </a:cubicBezTo>
                  <a:cubicBezTo>
                    <a:pt x="3622156" y="3107806"/>
                    <a:pt x="3449670" y="3043987"/>
                    <a:pt x="3358888" y="2904192"/>
                  </a:cubicBezTo>
                  <a:cubicBezTo>
                    <a:pt x="3328628" y="2855568"/>
                    <a:pt x="3292315" y="2843412"/>
                    <a:pt x="3240872" y="2843412"/>
                  </a:cubicBezTo>
                  <a:cubicBezTo>
                    <a:pt x="2514615" y="2843412"/>
                    <a:pt x="1788359" y="2846451"/>
                    <a:pt x="1062102" y="2843412"/>
                  </a:cubicBezTo>
                  <a:cubicBezTo>
                    <a:pt x="705026" y="2843412"/>
                    <a:pt x="408471" y="2709695"/>
                    <a:pt x="196646" y="2417949"/>
                  </a:cubicBezTo>
                  <a:cubicBezTo>
                    <a:pt x="-260290" y="1797990"/>
                    <a:pt x="124021" y="895402"/>
                    <a:pt x="886590" y="795115"/>
                  </a:cubicBezTo>
                  <a:cubicBezTo>
                    <a:pt x="944085" y="785998"/>
                    <a:pt x="1001581" y="782959"/>
                    <a:pt x="1059076" y="785998"/>
                  </a:cubicBezTo>
                  <a:cubicBezTo>
                    <a:pt x="1098415" y="785998"/>
                    <a:pt x="1116571" y="773842"/>
                    <a:pt x="1134728" y="737373"/>
                  </a:cubicBezTo>
                  <a:cubicBezTo>
                    <a:pt x="1334448" y="324067"/>
                    <a:pt x="1661264" y="68790"/>
                    <a:pt x="2118200" y="11048"/>
                  </a:cubicBezTo>
                  <a:cubicBezTo>
                    <a:pt x="2180613" y="3451"/>
                    <a:pt x="2241465" y="-205"/>
                    <a:pt x="230074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none" lIns="91427" tIns="45713" rIns="91427" bIns="45713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7EBEC10-2FD0-4BA2-BEB6-8460A58DA08A}"/>
              </a:ext>
            </a:extLst>
          </p:cNvPr>
          <p:cNvGrpSpPr/>
          <p:nvPr/>
        </p:nvGrpSpPr>
        <p:grpSpPr>
          <a:xfrm>
            <a:off x="6936183" y="306792"/>
            <a:ext cx="450379" cy="254879"/>
            <a:chOff x="6953170" y="306792"/>
            <a:chExt cx="450379" cy="254879"/>
          </a:xfrm>
        </p:grpSpPr>
        <p:sp>
          <p:nvSpPr>
            <p:cNvPr id="684" name="TextBox 683">
              <a:extLst>
                <a:ext uri="{FF2B5EF4-FFF2-40B4-BE49-F238E27FC236}">
                  <a16:creationId xmlns:a16="http://schemas.microsoft.com/office/drawing/2014/main" id="{9DDC1B55-9562-43BF-8228-1DDC426A645E}"/>
                </a:ext>
              </a:extLst>
            </p:cNvPr>
            <p:cNvSpPr txBox="1"/>
            <p:nvPr/>
          </p:nvSpPr>
          <p:spPr>
            <a:xfrm>
              <a:off x="6953170" y="492421"/>
              <a:ext cx="450379" cy="6925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pressRout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61" name="Picture 760">
              <a:extLst>
                <a:ext uri="{FF2B5EF4-FFF2-40B4-BE49-F238E27FC236}">
                  <a16:creationId xmlns:a16="http://schemas.microsoft.com/office/drawing/2014/main" id="{14D33433-F59E-4179-92C7-78C20A92D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5"/>
            <a:stretch>
              <a:fillRect/>
            </a:stretch>
          </p:blipFill>
          <p:spPr>
            <a:xfrm>
              <a:off x="7061316" y="306792"/>
              <a:ext cx="234087" cy="144171"/>
            </a:xfrm>
            <a:prstGeom prst="rect">
              <a:avLst/>
            </a:prstGeom>
          </p:spPr>
        </p:pic>
      </p:grpSp>
      <p:sp>
        <p:nvSpPr>
          <p:cNvPr id="764" name="TextBox 763">
            <a:extLst>
              <a:ext uri="{FF2B5EF4-FFF2-40B4-BE49-F238E27FC236}">
                <a16:creationId xmlns:a16="http://schemas.microsoft.com/office/drawing/2014/main" id="{2CA5C3F4-6833-4A8E-BF7B-1D7E221DF368}"/>
              </a:ext>
            </a:extLst>
          </p:cNvPr>
          <p:cNvSpPr txBox="1"/>
          <p:nvPr/>
        </p:nvSpPr>
        <p:spPr>
          <a:xfrm>
            <a:off x="991387" y="1114785"/>
            <a:ext cx="219581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0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65" name="TextBox 764">
            <a:extLst>
              <a:ext uri="{FF2B5EF4-FFF2-40B4-BE49-F238E27FC236}">
                <a16:creationId xmlns:a16="http://schemas.microsoft.com/office/drawing/2014/main" id="{54590EAA-8D59-46E8-A240-CEA30DC2B676}"/>
              </a:ext>
            </a:extLst>
          </p:cNvPr>
          <p:cNvSpPr txBox="1"/>
          <p:nvPr/>
        </p:nvSpPr>
        <p:spPr>
          <a:xfrm>
            <a:off x="4678353" y="1114785"/>
            <a:ext cx="254841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ve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66" name="TextBox 765">
            <a:extLst>
              <a:ext uri="{FF2B5EF4-FFF2-40B4-BE49-F238E27FC236}">
                <a16:creationId xmlns:a16="http://schemas.microsoft.com/office/drawing/2014/main" id="{AB5E5B67-2A2A-4C4C-ABD6-88130DD3BE40}"/>
              </a:ext>
            </a:extLst>
          </p:cNvPr>
          <p:cNvSpPr txBox="1"/>
          <p:nvPr/>
        </p:nvSpPr>
        <p:spPr>
          <a:xfrm>
            <a:off x="1386019" y="1114785"/>
            <a:ext cx="219581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0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ob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67" name="TextBox 766">
            <a:extLst>
              <a:ext uri="{FF2B5EF4-FFF2-40B4-BE49-F238E27FC236}">
                <a16:creationId xmlns:a16="http://schemas.microsoft.com/office/drawing/2014/main" id="{858DAF75-3183-4213-859A-91494955E5DF}"/>
              </a:ext>
            </a:extLst>
          </p:cNvPr>
          <p:cNvSpPr txBox="1"/>
          <p:nvPr/>
        </p:nvSpPr>
        <p:spPr>
          <a:xfrm>
            <a:off x="1764304" y="1114785"/>
            <a:ext cx="219581" cy="1385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914435">
              <a:lnSpc>
                <a:spcPct val="90000"/>
              </a:lnSpc>
              <a:defRPr sz="1400">
                <a:solidFill>
                  <a:schemeClr val="bg1"/>
                </a:solidFill>
                <a:latin typeface="Segoe UI" panose="020B0502040204020203" pitchFamily="34" charset="0"/>
              </a:defRPr>
            </a:lvl1pPr>
          </a:lstStyle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ueu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7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68" name="TextBox 767">
            <a:extLst>
              <a:ext uri="{FF2B5EF4-FFF2-40B4-BE49-F238E27FC236}">
                <a16:creationId xmlns:a16="http://schemas.microsoft.com/office/drawing/2014/main" id="{80296BF7-670B-4AC2-ABF9-072644EEB88D}"/>
              </a:ext>
            </a:extLst>
          </p:cNvPr>
          <p:cNvSpPr txBox="1"/>
          <p:nvPr/>
        </p:nvSpPr>
        <p:spPr>
          <a:xfrm>
            <a:off x="2142588" y="1114785"/>
            <a:ext cx="219581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l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69" name="TextBox 768">
            <a:extLst>
              <a:ext uri="{FF2B5EF4-FFF2-40B4-BE49-F238E27FC236}">
                <a16:creationId xmlns:a16="http://schemas.microsoft.com/office/drawing/2014/main" id="{E16139FA-B3BB-49B1-9B08-2657D83D8269}"/>
              </a:ext>
            </a:extLst>
          </p:cNvPr>
          <p:cNvSpPr txBox="1"/>
          <p:nvPr/>
        </p:nvSpPr>
        <p:spPr>
          <a:xfrm>
            <a:off x="2520872" y="1114785"/>
            <a:ext cx="219581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sk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0" name="TextBox 769">
            <a:extLst>
              <a:ext uri="{FF2B5EF4-FFF2-40B4-BE49-F238E27FC236}">
                <a16:creationId xmlns:a16="http://schemas.microsoft.com/office/drawing/2014/main" id="{46A33C46-6468-43B2-AF87-F8483BB03E4F}"/>
              </a:ext>
            </a:extLst>
          </p:cNvPr>
          <p:cNvSpPr txBox="1"/>
          <p:nvPr/>
        </p:nvSpPr>
        <p:spPr>
          <a:xfrm>
            <a:off x="3848057" y="1114785"/>
            <a:ext cx="307733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Simpl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1" name="TextBox 770">
            <a:extLst>
              <a:ext uri="{FF2B5EF4-FFF2-40B4-BE49-F238E27FC236}">
                <a16:creationId xmlns:a16="http://schemas.microsoft.com/office/drawing/2014/main" id="{552F36B2-743A-46DF-87F3-DA9D66B93973}"/>
              </a:ext>
            </a:extLst>
          </p:cNvPr>
          <p:cNvSpPr txBox="1"/>
          <p:nvPr/>
        </p:nvSpPr>
        <p:spPr>
          <a:xfrm>
            <a:off x="4314495" y="1114785"/>
            <a:ext cx="205155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ckup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67F8C9E8-2F38-4699-96B4-CDD74D9B58F9}"/>
              </a:ext>
            </a:extLst>
          </p:cNvPr>
          <p:cNvSpPr txBox="1"/>
          <p:nvPr/>
        </p:nvSpPr>
        <p:spPr>
          <a:xfrm>
            <a:off x="2899157" y="1114785"/>
            <a:ext cx="315748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Lak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e Gen2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F72E77E7-2EA8-43EB-8666-C2C35C397820}"/>
              </a:ext>
            </a:extLst>
          </p:cNvPr>
          <p:cNvSpPr txBox="1"/>
          <p:nvPr/>
        </p:nvSpPr>
        <p:spPr>
          <a:xfrm>
            <a:off x="3373607" y="1114785"/>
            <a:ext cx="315747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Lak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e Gen1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E8F21186-FDF5-4C72-9D90-524CE95219DA}"/>
              </a:ext>
            </a:extLst>
          </p:cNvPr>
          <p:cNvSpPr txBox="1"/>
          <p:nvPr/>
        </p:nvSpPr>
        <p:spPr>
          <a:xfrm>
            <a:off x="5091897" y="1114785"/>
            <a:ext cx="26926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naged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sk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5" name="TextBox 774">
            <a:extLst>
              <a:ext uri="{FF2B5EF4-FFF2-40B4-BE49-F238E27FC236}">
                <a16:creationId xmlns:a16="http://schemas.microsoft.com/office/drawing/2014/main" id="{86831279-A469-4281-95C6-BE5744D148B0}"/>
              </a:ext>
            </a:extLst>
          </p:cNvPr>
          <p:cNvSpPr txBox="1"/>
          <p:nvPr/>
        </p:nvSpPr>
        <p:spPr>
          <a:xfrm>
            <a:off x="5519866" y="1114786"/>
            <a:ext cx="1490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x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6" name="TextBox 775">
            <a:extLst>
              <a:ext uri="{FF2B5EF4-FFF2-40B4-BE49-F238E27FC236}">
                <a16:creationId xmlns:a16="http://schemas.microsoft.com/office/drawing/2014/main" id="{17CFDE82-2FEF-404B-A2B4-9EF738F6D36D}"/>
              </a:ext>
            </a:extLst>
          </p:cNvPr>
          <p:cNvSpPr txBox="1"/>
          <p:nvPr/>
        </p:nvSpPr>
        <p:spPr>
          <a:xfrm>
            <a:off x="5827629" y="1114786"/>
            <a:ext cx="1795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ere</a:t>
            </a: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FX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7" name="TextBox 776">
            <a:extLst>
              <a:ext uri="{FF2B5EF4-FFF2-40B4-BE49-F238E27FC236}">
                <a16:creationId xmlns:a16="http://schemas.microsoft.com/office/drawing/2014/main" id="{228C6736-80BC-47C2-8DCA-19200D61AFB2}"/>
              </a:ext>
            </a:extLst>
          </p:cNvPr>
          <p:cNvSpPr txBox="1"/>
          <p:nvPr/>
        </p:nvSpPr>
        <p:spPr>
          <a:xfrm>
            <a:off x="6165843" y="1114786"/>
            <a:ext cx="2372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lor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8" name="TextBox 777">
            <a:extLst>
              <a:ext uri="{FF2B5EF4-FFF2-40B4-BE49-F238E27FC236}">
                <a16:creationId xmlns:a16="http://schemas.microsoft.com/office/drawing/2014/main" id="{53715813-C5AE-4B2B-BAE0-D1CA7AD6FA1D}"/>
              </a:ext>
            </a:extLst>
          </p:cNvPr>
          <p:cNvSpPr txBox="1"/>
          <p:nvPr/>
        </p:nvSpPr>
        <p:spPr>
          <a:xfrm>
            <a:off x="6561757" y="1114786"/>
            <a:ext cx="2275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chiv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8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79" name="TextBox 778">
            <a:extLst>
              <a:ext uri="{FF2B5EF4-FFF2-40B4-BE49-F238E27FC236}">
                <a16:creationId xmlns:a16="http://schemas.microsoft.com/office/drawing/2014/main" id="{8495C1BC-1B54-452E-ACA5-EC9995A27B32}"/>
              </a:ext>
            </a:extLst>
          </p:cNvPr>
          <p:cNvSpPr txBox="1"/>
          <p:nvPr/>
        </p:nvSpPr>
        <p:spPr>
          <a:xfrm>
            <a:off x="6948055" y="1114786"/>
            <a:ext cx="36543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tApp Fil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0" name="TextBox 779">
            <a:extLst>
              <a:ext uri="{FF2B5EF4-FFF2-40B4-BE49-F238E27FC236}">
                <a16:creationId xmlns:a16="http://schemas.microsoft.com/office/drawing/2014/main" id="{1ACC6DA7-FAB0-486E-BFF2-C12C889A8798}"/>
              </a:ext>
            </a:extLst>
          </p:cNvPr>
          <p:cNvSpPr txBox="1"/>
          <p:nvPr/>
        </p:nvSpPr>
        <p:spPr>
          <a:xfrm>
            <a:off x="8171037" y="1114786"/>
            <a:ext cx="4022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 Service –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 Ap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1" name="TextBox 780">
            <a:extLst>
              <a:ext uri="{FF2B5EF4-FFF2-40B4-BE49-F238E27FC236}">
                <a16:creationId xmlns:a16="http://schemas.microsoft.com/office/drawing/2014/main" id="{24A2A121-8E94-479A-8D7F-1FBC91F2481C}"/>
              </a:ext>
            </a:extLst>
          </p:cNvPr>
          <p:cNvSpPr txBox="1"/>
          <p:nvPr/>
        </p:nvSpPr>
        <p:spPr>
          <a:xfrm>
            <a:off x="8839004" y="1114785"/>
            <a:ext cx="378255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nagemen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2" name="TextBox 781">
            <a:extLst>
              <a:ext uri="{FF2B5EF4-FFF2-40B4-BE49-F238E27FC236}">
                <a16:creationId xmlns:a16="http://schemas.microsoft.com/office/drawing/2014/main" id="{10DB61E8-169F-4E6B-8E25-B0CF120ED88B}"/>
              </a:ext>
            </a:extLst>
          </p:cNvPr>
          <p:cNvSpPr txBox="1"/>
          <p:nvPr/>
        </p:nvSpPr>
        <p:spPr>
          <a:xfrm>
            <a:off x="9482932" y="1114786"/>
            <a:ext cx="4920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ent Deliver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twork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3" name="TextBox 782">
            <a:extLst>
              <a:ext uri="{FF2B5EF4-FFF2-40B4-BE49-F238E27FC236}">
                <a16:creationId xmlns:a16="http://schemas.microsoft.com/office/drawing/2014/main" id="{36AE893B-6A62-444B-9933-77465FE71CCA}"/>
              </a:ext>
            </a:extLst>
          </p:cNvPr>
          <p:cNvSpPr txBox="1"/>
          <p:nvPr/>
        </p:nvSpPr>
        <p:spPr>
          <a:xfrm>
            <a:off x="10240655" y="1114786"/>
            <a:ext cx="3510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ifica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ub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4" name="TextBox 783">
            <a:extLst>
              <a:ext uri="{FF2B5EF4-FFF2-40B4-BE49-F238E27FC236}">
                <a16:creationId xmlns:a16="http://schemas.microsoft.com/office/drawing/2014/main" id="{A3B9D777-F176-4E08-A34C-68CA8C197E76}"/>
              </a:ext>
            </a:extLst>
          </p:cNvPr>
          <p:cNvSpPr txBox="1"/>
          <p:nvPr/>
        </p:nvSpPr>
        <p:spPr>
          <a:xfrm>
            <a:off x="11722064" y="1114786"/>
            <a:ext cx="4103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  <a:r>
              <a:rPr kumimoji="0" lang="en-US" sz="5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gnalR</a:t>
            </a: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5" name="TextBox 784">
            <a:extLst>
              <a:ext uri="{FF2B5EF4-FFF2-40B4-BE49-F238E27FC236}">
                <a16:creationId xmlns:a16="http://schemas.microsoft.com/office/drawing/2014/main" id="{03148C99-EAEB-4247-A577-22B9F5941154}"/>
              </a:ext>
            </a:extLst>
          </p:cNvPr>
          <p:cNvSpPr txBox="1"/>
          <p:nvPr/>
        </p:nvSpPr>
        <p:spPr>
          <a:xfrm>
            <a:off x="11317411" y="1114786"/>
            <a:ext cx="14585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6" name="TextBox 785">
            <a:extLst>
              <a:ext uri="{FF2B5EF4-FFF2-40B4-BE49-F238E27FC236}">
                <a16:creationId xmlns:a16="http://schemas.microsoft.com/office/drawing/2014/main" id="{4350A437-4E61-48F0-8D08-007A3CD5C1E0}"/>
              </a:ext>
            </a:extLst>
          </p:cNvPr>
          <p:cNvSpPr txBox="1"/>
          <p:nvPr/>
        </p:nvSpPr>
        <p:spPr>
          <a:xfrm>
            <a:off x="10857716" y="1114785"/>
            <a:ext cx="18752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arch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787" name="Rectangle 786">
            <a:extLst>
              <a:ext uri="{FF2B5EF4-FFF2-40B4-BE49-F238E27FC236}">
                <a16:creationId xmlns:a16="http://schemas.microsoft.com/office/drawing/2014/main" id="{722190DB-B940-4F49-BE13-80BF68A8BFC8}"/>
              </a:ext>
            </a:extLst>
          </p:cNvPr>
          <p:cNvSpPr/>
          <p:nvPr/>
        </p:nvSpPr>
        <p:spPr bwMode="auto">
          <a:xfrm>
            <a:off x="7417949" y="777552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Web</a:t>
            </a:r>
          </a:p>
        </p:txBody>
      </p:sp>
      <p:pic>
        <p:nvPicPr>
          <p:cNvPr id="809" name="Graphic 808">
            <a:extLst>
              <a:ext uri="{FF2B5EF4-FFF2-40B4-BE49-F238E27FC236}">
                <a16:creationId xmlns:a16="http://schemas.microsoft.com/office/drawing/2014/main" id="{B579F1B2-9861-41CB-B376-C6F3ADE3B764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2975093" y="877663"/>
            <a:ext cx="163877" cy="163875"/>
          </a:xfrm>
          <a:prstGeom prst="rect">
            <a:avLst/>
          </a:prstGeom>
        </p:spPr>
      </p:pic>
      <p:pic>
        <p:nvPicPr>
          <p:cNvPr id="810" name="Graphic 809">
            <a:extLst>
              <a:ext uri="{FF2B5EF4-FFF2-40B4-BE49-F238E27FC236}">
                <a16:creationId xmlns:a16="http://schemas.microsoft.com/office/drawing/2014/main" id="{BE23E5B2-1632-4EF3-BC44-2BB3C5FA2315}"/>
              </a:ext>
            </a:extLst>
          </p:cNvPr>
          <p:cNvPicPr>
            <a:picLocks noChangeAspect="1"/>
          </p:cNvPicPr>
          <p:nvPr/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2541673" y="870611"/>
            <a:ext cx="177981" cy="177979"/>
          </a:xfrm>
          <a:prstGeom prst="rect">
            <a:avLst/>
          </a:prstGeom>
        </p:spPr>
      </p:pic>
      <p:pic>
        <p:nvPicPr>
          <p:cNvPr id="811" name="Graphic 810">
            <a:extLst>
              <a:ext uri="{FF2B5EF4-FFF2-40B4-BE49-F238E27FC236}">
                <a16:creationId xmlns:a16="http://schemas.microsoft.com/office/drawing/2014/main" id="{E306949C-E110-48A2-92AA-296D848AEFF2}"/>
              </a:ext>
            </a:extLst>
          </p:cNvPr>
          <p:cNvPicPr>
            <a:picLocks noChangeAspect="1"/>
          </p:cNvPicPr>
          <p:nvPr/>
        </p:nvPicPr>
        <p:blipFill>
          <a:blip r:embed="rId102">
            <a:extLs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4333778" y="876305"/>
            <a:ext cx="166589" cy="166589"/>
          </a:xfrm>
          <a:prstGeom prst="rect">
            <a:avLst/>
          </a:prstGeom>
        </p:spPr>
      </p:pic>
      <p:pic>
        <p:nvPicPr>
          <p:cNvPr id="812" name="Graphic 811">
            <a:extLst>
              <a:ext uri="{FF2B5EF4-FFF2-40B4-BE49-F238E27FC236}">
                <a16:creationId xmlns:a16="http://schemas.microsoft.com/office/drawing/2014/main" id="{E9677629-24CD-46A4-8030-479CFFF406C7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96DAC541-7B7A-43D3-8B79-37D633B846F1}">
                <asvg:svgBlip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3925006" y="882682"/>
            <a:ext cx="153836" cy="153836"/>
          </a:xfrm>
          <a:prstGeom prst="rect">
            <a:avLst/>
          </a:prstGeom>
        </p:spPr>
      </p:pic>
      <p:pic>
        <p:nvPicPr>
          <p:cNvPr id="813" name="Graphic 812">
            <a:extLst>
              <a:ext uri="{FF2B5EF4-FFF2-40B4-BE49-F238E27FC236}">
                <a16:creationId xmlns:a16="http://schemas.microsoft.com/office/drawing/2014/main" id="{C8622097-9F59-4C28-A1B3-88AFF628DC42}"/>
              </a:ext>
            </a:extLst>
          </p:cNvPr>
          <p:cNvPicPr>
            <a:picLocks noChangeAspect="1"/>
          </p:cNvPicPr>
          <p:nvPr/>
        </p:nvPicPr>
        <p:blipFill>
          <a:blip r:embed="rId106">
            <a:extLst>
              <a:ext uri="{96DAC541-7B7A-43D3-8B79-37D633B846F1}">
                <asvg:svgBlip xmlns:asvg="http://schemas.microsoft.com/office/drawing/2016/SVG/main" r:embed="rId107"/>
              </a:ext>
            </a:extLst>
          </a:blip>
          <a:stretch>
            <a:fillRect/>
          </a:stretch>
        </p:blipFill>
        <p:spPr>
          <a:xfrm>
            <a:off x="7032805" y="861635"/>
            <a:ext cx="195934" cy="195932"/>
          </a:xfrm>
          <a:prstGeom prst="rect">
            <a:avLst/>
          </a:prstGeom>
        </p:spPr>
      </p:pic>
      <p:pic>
        <p:nvPicPr>
          <p:cNvPr id="814" name="Graphic 813">
            <a:extLst>
              <a:ext uri="{FF2B5EF4-FFF2-40B4-BE49-F238E27FC236}">
                <a16:creationId xmlns:a16="http://schemas.microsoft.com/office/drawing/2014/main" id="{AD3AF27B-DEC1-4148-91E1-E70B7D3A31C6}"/>
              </a:ext>
            </a:extLst>
          </p:cNvPr>
          <p:cNvPicPr>
            <a:picLocks noChangeAspect="1"/>
          </p:cNvPicPr>
          <p:nvPr/>
        </p:nvPicPr>
        <p:blipFill>
          <a:blip r:embed="rId108">
            <a:extLst>
              <a:ext uri="{96DAC541-7B7A-43D3-8B79-37D633B846F1}">
                <asvg:svgBlip xmlns:asvg="http://schemas.microsoft.com/office/drawing/2016/SVG/main" r:embed="rId109"/>
              </a:ext>
            </a:extLst>
          </a:blip>
          <a:stretch>
            <a:fillRect/>
          </a:stretch>
        </p:blipFill>
        <p:spPr>
          <a:xfrm>
            <a:off x="4725075" y="878903"/>
            <a:ext cx="161397" cy="161395"/>
          </a:xfrm>
          <a:prstGeom prst="rect">
            <a:avLst/>
          </a:prstGeom>
        </p:spPr>
      </p:pic>
      <p:grpSp>
        <p:nvGrpSpPr>
          <p:cNvPr id="815" name="Group 814">
            <a:extLst>
              <a:ext uri="{FF2B5EF4-FFF2-40B4-BE49-F238E27FC236}">
                <a16:creationId xmlns:a16="http://schemas.microsoft.com/office/drawing/2014/main" id="{6096B64F-A6AB-4CEC-9F0C-A31BBE84ECCC}"/>
              </a:ext>
            </a:extLst>
          </p:cNvPr>
          <p:cNvGrpSpPr/>
          <p:nvPr/>
        </p:nvGrpSpPr>
        <p:grpSpPr>
          <a:xfrm>
            <a:off x="2163389" y="883247"/>
            <a:ext cx="177981" cy="152706"/>
            <a:chOff x="3633389" y="6179500"/>
            <a:chExt cx="274320" cy="235367"/>
          </a:xfrm>
        </p:grpSpPr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1634C9F2-6CE1-4B92-BF14-DEA91DD2BEFD}"/>
                </a:ext>
              </a:extLst>
            </p:cNvPr>
            <p:cNvSpPr/>
            <p:nvPr/>
          </p:nvSpPr>
          <p:spPr>
            <a:xfrm>
              <a:off x="3633389" y="6222843"/>
              <a:ext cx="274320" cy="192024"/>
            </a:xfrm>
            <a:custGeom>
              <a:avLst/>
              <a:gdLst>
                <a:gd name="connsiteX0" fmla="*/ 0 w 274320"/>
                <a:gd name="connsiteY0" fmla="*/ 181600 h 192024"/>
                <a:gd name="connsiteX1" fmla="*/ 9876 w 274320"/>
                <a:gd name="connsiteY1" fmla="*/ 192024 h 192024"/>
                <a:gd name="connsiteX2" fmla="*/ 263896 w 274320"/>
                <a:gd name="connsiteY2" fmla="*/ 192024 h 192024"/>
                <a:gd name="connsiteX3" fmla="*/ 274320 w 274320"/>
                <a:gd name="connsiteY3" fmla="*/ 181600 h 192024"/>
                <a:gd name="connsiteX4" fmla="*/ 274320 w 274320"/>
                <a:gd name="connsiteY4" fmla="*/ 0 h 192024"/>
                <a:gd name="connsiteX5" fmla="*/ 0 w 274320"/>
                <a:gd name="connsiteY5" fmla="*/ 0 h 192024"/>
                <a:gd name="connsiteX6" fmla="*/ 0 w 274320"/>
                <a:gd name="connsiteY6" fmla="*/ 181600 h 19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192024">
                  <a:moveTo>
                    <a:pt x="0" y="181600"/>
                  </a:moveTo>
                  <a:cubicBezTo>
                    <a:pt x="0" y="187086"/>
                    <a:pt x="4389" y="192024"/>
                    <a:pt x="9876" y="192024"/>
                  </a:cubicBezTo>
                  <a:lnTo>
                    <a:pt x="263896" y="192024"/>
                  </a:lnTo>
                  <a:cubicBezTo>
                    <a:pt x="269382" y="192024"/>
                    <a:pt x="274320" y="187635"/>
                    <a:pt x="274320" y="181600"/>
                  </a:cubicBezTo>
                  <a:lnTo>
                    <a:pt x="274320" y="0"/>
                  </a:lnTo>
                  <a:lnTo>
                    <a:pt x="0" y="0"/>
                  </a:lnTo>
                  <a:lnTo>
                    <a:pt x="0" y="181600"/>
                  </a:lnTo>
                  <a:close/>
                </a:path>
              </a:pathLst>
            </a:custGeom>
            <a:solidFill>
              <a:srgbClr val="B3B4B5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0F418DF1-72B7-4452-947D-3B9408D8C253}"/>
                </a:ext>
              </a:extLst>
            </p:cNvPr>
            <p:cNvSpPr/>
            <p:nvPr/>
          </p:nvSpPr>
          <p:spPr>
            <a:xfrm>
              <a:off x="3633389" y="6179500"/>
              <a:ext cx="274320" cy="38405"/>
            </a:xfrm>
            <a:custGeom>
              <a:avLst/>
              <a:gdLst>
                <a:gd name="connsiteX0" fmla="*/ 263896 w 274320"/>
                <a:gd name="connsiteY0" fmla="*/ 0 h 38404"/>
                <a:gd name="connsiteX1" fmla="*/ 9876 w 274320"/>
                <a:gd name="connsiteY1" fmla="*/ 0 h 38404"/>
                <a:gd name="connsiteX2" fmla="*/ 0 w 274320"/>
                <a:gd name="connsiteY2" fmla="*/ 10424 h 38404"/>
                <a:gd name="connsiteX3" fmla="*/ 0 w 274320"/>
                <a:gd name="connsiteY3" fmla="*/ 43343 h 38404"/>
                <a:gd name="connsiteX4" fmla="*/ 274320 w 274320"/>
                <a:gd name="connsiteY4" fmla="*/ 43343 h 38404"/>
                <a:gd name="connsiteX5" fmla="*/ 274320 w 274320"/>
                <a:gd name="connsiteY5" fmla="*/ 10424 h 38404"/>
                <a:gd name="connsiteX6" fmla="*/ 263896 w 274320"/>
                <a:gd name="connsiteY6" fmla="*/ 1646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38404">
                  <a:moveTo>
                    <a:pt x="263896" y="0"/>
                  </a:moveTo>
                  <a:lnTo>
                    <a:pt x="9876" y="0"/>
                  </a:lnTo>
                  <a:cubicBezTo>
                    <a:pt x="4389" y="0"/>
                    <a:pt x="0" y="4938"/>
                    <a:pt x="0" y="10424"/>
                  </a:cubicBezTo>
                  <a:lnTo>
                    <a:pt x="0" y="43343"/>
                  </a:lnTo>
                  <a:lnTo>
                    <a:pt x="274320" y="43343"/>
                  </a:lnTo>
                  <a:lnTo>
                    <a:pt x="274320" y="10424"/>
                  </a:lnTo>
                  <a:cubicBezTo>
                    <a:pt x="274320" y="4938"/>
                    <a:pt x="269931" y="1646"/>
                    <a:pt x="263896" y="1646"/>
                  </a:cubicBezTo>
                </a:path>
              </a:pathLst>
            </a:custGeom>
            <a:solidFill>
              <a:srgbClr val="7A7A7A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CD7D68B4-755B-4E7B-9D9A-61043E80B258}"/>
                </a:ext>
              </a:extLst>
            </p:cNvPr>
            <p:cNvSpPr/>
            <p:nvPr/>
          </p:nvSpPr>
          <p:spPr>
            <a:xfrm>
              <a:off x="3655335" y="6296909"/>
              <a:ext cx="230429" cy="38405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CF9B050E-E6A6-4FC1-878E-9AED328F3723}"/>
                </a:ext>
              </a:extLst>
            </p:cNvPr>
            <p:cNvSpPr/>
            <p:nvPr/>
          </p:nvSpPr>
          <p:spPr>
            <a:xfrm>
              <a:off x="3655335" y="6239302"/>
              <a:ext cx="230429" cy="38405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BD6149A5-7389-43FE-9C06-0CF56F74E18F}"/>
                </a:ext>
              </a:extLst>
            </p:cNvPr>
            <p:cNvSpPr/>
            <p:nvPr/>
          </p:nvSpPr>
          <p:spPr>
            <a:xfrm>
              <a:off x="3655335" y="6354516"/>
              <a:ext cx="230429" cy="38405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21" name="Group 820">
            <a:extLst>
              <a:ext uri="{FF2B5EF4-FFF2-40B4-BE49-F238E27FC236}">
                <a16:creationId xmlns:a16="http://schemas.microsoft.com/office/drawing/2014/main" id="{0B31A453-2C23-462F-A500-11D8CEEF8A6A}"/>
              </a:ext>
            </a:extLst>
          </p:cNvPr>
          <p:cNvGrpSpPr/>
          <p:nvPr/>
        </p:nvGrpSpPr>
        <p:grpSpPr>
          <a:xfrm>
            <a:off x="1797967" y="880647"/>
            <a:ext cx="152256" cy="157906"/>
            <a:chOff x="3011705" y="6027878"/>
            <a:chExt cx="292394" cy="303244"/>
          </a:xfrm>
        </p:grpSpPr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BC58039B-4B9D-4FF8-95DB-B09781CC7504}"/>
                </a:ext>
              </a:extLst>
            </p:cNvPr>
            <p:cNvSpPr/>
            <p:nvPr/>
          </p:nvSpPr>
          <p:spPr>
            <a:xfrm>
              <a:off x="3011710" y="6074534"/>
              <a:ext cx="292389" cy="256588"/>
            </a:xfrm>
            <a:custGeom>
              <a:avLst/>
              <a:gdLst>
                <a:gd name="connsiteX0" fmla="*/ 241402 w 268833"/>
                <a:gd name="connsiteY0" fmla="*/ 235915 h 235915"/>
                <a:gd name="connsiteX1" fmla="*/ 32918 w 268833"/>
                <a:gd name="connsiteY1" fmla="*/ 235915 h 235915"/>
                <a:gd name="connsiteX2" fmla="*/ 0 w 268833"/>
                <a:gd name="connsiteY2" fmla="*/ 197510 h 235915"/>
                <a:gd name="connsiteX3" fmla="*/ 0 w 268833"/>
                <a:gd name="connsiteY3" fmla="*/ 0 h 235915"/>
                <a:gd name="connsiteX4" fmla="*/ 268834 w 268833"/>
                <a:gd name="connsiteY4" fmla="*/ 0 h 235915"/>
                <a:gd name="connsiteX5" fmla="*/ 268834 w 268833"/>
                <a:gd name="connsiteY5" fmla="*/ 202997 h 235915"/>
                <a:gd name="connsiteX6" fmla="*/ 241402 w 268833"/>
                <a:gd name="connsiteY6" fmla="*/ 235915 h 23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833" h="235915">
                  <a:moveTo>
                    <a:pt x="241402" y="235915"/>
                  </a:moveTo>
                  <a:lnTo>
                    <a:pt x="32918" y="235915"/>
                  </a:lnTo>
                  <a:cubicBezTo>
                    <a:pt x="14736" y="235915"/>
                    <a:pt x="0" y="215692"/>
                    <a:pt x="0" y="197510"/>
                  </a:cubicBezTo>
                  <a:lnTo>
                    <a:pt x="0" y="0"/>
                  </a:lnTo>
                  <a:lnTo>
                    <a:pt x="268834" y="0"/>
                  </a:lnTo>
                  <a:lnTo>
                    <a:pt x="268834" y="202997"/>
                  </a:lnTo>
                  <a:cubicBezTo>
                    <a:pt x="268834" y="221179"/>
                    <a:pt x="259584" y="235915"/>
                    <a:pt x="241402" y="235915"/>
                  </a:cubicBezTo>
                  <a:close/>
                </a:path>
              </a:pathLst>
            </a:custGeom>
            <a:solidFill>
              <a:srgbClr val="A0A1A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1AE37C3F-05C4-4957-955F-BAF4100FB658}"/>
                </a:ext>
              </a:extLst>
            </p:cNvPr>
            <p:cNvSpPr/>
            <p:nvPr/>
          </p:nvSpPr>
          <p:spPr>
            <a:xfrm>
              <a:off x="3125086" y="6074534"/>
              <a:ext cx="65638" cy="232720"/>
            </a:xfrm>
            <a:custGeom>
              <a:avLst/>
              <a:gdLst>
                <a:gd name="connsiteX0" fmla="*/ 0 w 60350"/>
                <a:gd name="connsiteY0" fmla="*/ 0 h 213969"/>
                <a:gd name="connsiteX1" fmla="*/ 60350 w 60350"/>
                <a:gd name="connsiteY1" fmla="*/ 0 h 213969"/>
                <a:gd name="connsiteX2" fmla="*/ 60350 w 60350"/>
                <a:gd name="connsiteY2" fmla="*/ 213970 h 213969"/>
                <a:gd name="connsiteX3" fmla="*/ 0 w 60350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0" h="213969">
                  <a:moveTo>
                    <a:pt x="0" y="0"/>
                  </a:moveTo>
                  <a:lnTo>
                    <a:pt x="60350" y="0"/>
                  </a:lnTo>
                  <a:lnTo>
                    <a:pt x="60350" y="213970"/>
                  </a:lnTo>
                  <a:lnTo>
                    <a:pt x="0" y="213970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A3D0ED55-92FB-4794-A3ED-B1DA3013D9BA}"/>
                </a:ext>
              </a:extLst>
            </p:cNvPr>
            <p:cNvSpPr/>
            <p:nvPr/>
          </p:nvSpPr>
          <p:spPr>
            <a:xfrm>
              <a:off x="3125086" y="6074534"/>
              <a:ext cx="65638" cy="232720"/>
            </a:xfrm>
            <a:custGeom>
              <a:avLst/>
              <a:gdLst>
                <a:gd name="connsiteX0" fmla="*/ 0 w 60350"/>
                <a:gd name="connsiteY0" fmla="*/ 0 h 213969"/>
                <a:gd name="connsiteX1" fmla="*/ 60350 w 60350"/>
                <a:gd name="connsiteY1" fmla="*/ 0 h 213969"/>
                <a:gd name="connsiteX2" fmla="*/ 60350 w 60350"/>
                <a:gd name="connsiteY2" fmla="*/ 213970 h 213969"/>
                <a:gd name="connsiteX3" fmla="*/ 0 w 60350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0" h="213969">
                  <a:moveTo>
                    <a:pt x="0" y="0"/>
                  </a:moveTo>
                  <a:lnTo>
                    <a:pt x="60350" y="0"/>
                  </a:lnTo>
                  <a:lnTo>
                    <a:pt x="60350" y="213970"/>
                  </a:lnTo>
                  <a:lnTo>
                    <a:pt x="0" y="213970"/>
                  </a:lnTo>
                  <a:close/>
                </a:path>
              </a:pathLst>
            </a:custGeom>
            <a:solidFill>
              <a:srgbClr val="804998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537EA0E-3A95-44B6-BF4B-B1E48D9954C6}"/>
                </a:ext>
              </a:extLst>
            </p:cNvPr>
            <p:cNvSpPr/>
            <p:nvPr/>
          </p:nvSpPr>
          <p:spPr>
            <a:xfrm>
              <a:off x="3214592" y="6074534"/>
              <a:ext cx="65638" cy="232720"/>
            </a:xfrm>
            <a:custGeom>
              <a:avLst/>
              <a:gdLst>
                <a:gd name="connsiteX0" fmla="*/ 0 w 60350"/>
                <a:gd name="connsiteY0" fmla="*/ 0 h 213969"/>
                <a:gd name="connsiteX1" fmla="*/ 60350 w 60350"/>
                <a:gd name="connsiteY1" fmla="*/ 0 h 213969"/>
                <a:gd name="connsiteX2" fmla="*/ 60350 w 60350"/>
                <a:gd name="connsiteY2" fmla="*/ 213970 h 213969"/>
                <a:gd name="connsiteX3" fmla="*/ 0 w 60350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0" h="213969">
                  <a:moveTo>
                    <a:pt x="0" y="0"/>
                  </a:moveTo>
                  <a:lnTo>
                    <a:pt x="60350" y="0"/>
                  </a:lnTo>
                  <a:lnTo>
                    <a:pt x="60350" y="213970"/>
                  </a:lnTo>
                  <a:lnTo>
                    <a:pt x="0" y="213970"/>
                  </a:lnTo>
                  <a:close/>
                </a:path>
              </a:pathLst>
            </a:custGeom>
            <a:solidFill>
              <a:srgbClr val="804998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ACC1AFCF-DB58-44EE-BDF4-381FC5C7BC95}"/>
                </a:ext>
              </a:extLst>
            </p:cNvPr>
            <p:cNvSpPr/>
            <p:nvPr/>
          </p:nvSpPr>
          <p:spPr>
            <a:xfrm>
              <a:off x="3035579" y="6074534"/>
              <a:ext cx="65638" cy="232720"/>
            </a:xfrm>
            <a:custGeom>
              <a:avLst/>
              <a:gdLst>
                <a:gd name="connsiteX0" fmla="*/ 0 w 60350"/>
                <a:gd name="connsiteY0" fmla="*/ 0 h 213969"/>
                <a:gd name="connsiteX1" fmla="*/ 60350 w 60350"/>
                <a:gd name="connsiteY1" fmla="*/ 0 h 213969"/>
                <a:gd name="connsiteX2" fmla="*/ 60350 w 60350"/>
                <a:gd name="connsiteY2" fmla="*/ 213970 h 213969"/>
                <a:gd name="connsiteX3" fmla="*/ 0 w 60350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50" h="213969">
                  <a:moveTo>
                    <a:pt x="0" y="0"/>
                  </a:moveTo>
                  <a:lnTo>
                    <a:pt x="60350" y="0"/>
                  </a:lnTo>
                  <a:lnTo>
                    <a:pt x="60350" y="213970"/>
                  </a:lnTo>
                  <a:lnTo>
                    <a:pt x="0" y="213970"/>
                  </a:lnTo>
                  <a:close/>
                </a:path>
              </a:pathLst>
            </a:custGeom>
            <a:solidFill>
              <a:srgbClr val="804998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5F5B1710-23A2-479D-AB6F-7219559AF327}"/>
                </a:ext>
              </a:extLst>
            </p:cNvPr>
            <p:cNvSpPr/>
            <p:nvPr/>
          </p:nvSpPr>
          <p:spPr>
            <a:xfrm>
              <a:off x="3125086" y="6074534"/>
              <a:ext cx="11934" cy="232720"/>
            </a:xfrm>
            <a:custGeom>
              <a:avLst/>
              <a:gdLst>
                <a:gd name="connsiteX0" fmla="*/ 0 w 10972"/>
                <a:gd name="connsiteY0" fmla="*/ 213970 h 213969"/>
                <a:gd name="connsiteX1" fmla="*/ 0 w 10972"/>
                <a:gd name="connsiteY1" fmla="*/ 0 h 213969"/>
                <a:gd name="connsiteX2" fmla="*/ 10973 w 10972"/>
                <a:gd name="connsiteY2" fmla="*/ 0 h 213969"/>
                <a:gd name="connsiteX3" fmla="*/ 10973 w 10972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72" h="213969">
                  <a:moveTo>
                    <a:pt x="0" y="213970"/>
                  </a:moveTo>
                  <a:lnTo>
                    <a:pt x="0" y="0"/>
                  </a:lnTo>
                  <a:lnTo>
                    <a:pt x="10973" y="0"/>
                  </a:lnTo>
                  <a:lnTo>
                    <a:pt x="10973" y="213970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402E4710-5CFB-42F5-B13D-F4BFC4123C10}"/>
                </a:ext>
              </a:extLst>
            </p:cNvPr>
            <p:cNvSpPr/>
            <p:nvPr/>
          </p:nvSpPr>
          <p:spPr>
            <a:xfrm>
              <a:off x="3035579" y="6074534"/>
              <a:ext cx="11934" cy="232720"/>
            </a:xfrm>
            <a:custGeom>
              <a:avLst/>
              <a:gdLst>
                <a:gd name="connsiteX0" fmla="*/ 0 w 10972"/>
                <a:gd name="connsiteY0" fmla="*/ 213970 h 213969"/>
                <a:gd name="connsiteX1" fmla="*/ 0 w 10972"/>
                <a:gd name="connsiteY1" fmla="*/ 0 h 213969"/>
                <a:gd name="connsiteX2" fmla="*/ 10973 w 10972"/>
                <a:gd name="connsiteY2" fmla="*/ 0 h 213969"/>
                <a:gd name="connsiteX3" fmla="*/ 10973 w 10972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72" h="213969">
                  <a:moveTo>
                    <a:pt x="0" y="213970"/>
                  </a:moveTo>
                  <a:lnTo>
                    <a:pt x="0" y="0"/>
                  </a:lnTo>
                  <a:lnTo>
                    <a:pt x="10973" y="0"/>
                  </a:lnTo>
                  <a:lnTo>
                    <a:pt x="10973" y="213970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87A3FFA9-ADC5-4DEA-AEF8-F1E4E4A63774}"/>
                </a:ext>
              </a:extLst>
            </p:cNvPr>
            <p:cNvSpPr/>
            <p:nvPr/>
          </p:nvSpPr>
          <p:spPr>
            <a:xfrm>
              <a:off x="3214592" y="6074534"/>
              <a:ext cx="11934" cy="232720"/>
            </a:xfrm>
            <a:custGeom>
              <a:avLst/>
              <a:gdLst>
                <a:gd name="connsiteX0" fmla="*/ 0 w 10972"/>
                <a:gd name="connsiteY0" fmla="*/ 213970 h 213969"/>
                <a:gd name="connsiteX1" fmla="*/ 0 w 10972"/>
                <a:gd name="connsiteY1" fmla="*/ 0 h 213969"/>
                <a:gd name="connsiteX2" fmla="*/ 10973 w 10972"/>
                <a:gd name="connsiteY2" fmla="*/ 0 h 213969"/>
                <a:gd name="connsiteX3" fmla="*/ 10973 w 10972"/>
                <a:gd name="connsiteY3" fmla="*/ 213970 h 21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72" h="213969">
                  <a:moveTo>
                    <a:pt x="0" y="213970"/>
                  </a:moveTo>
                  <a:lnTo>
                    <a:pt x="0" y="0"/>
                  </a:lnTo>
                  <a:lnTo>
                    <a:pt x="10973" y="0"/>
                  </a:lnTo>
                  <a:lnTo>
                    <a:pt x="10973" y="213970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A3DE2512-045F-4948-B851-FEF994792588}"/>
                </a:ext>
              </a:extLst>
            </p:cNvPr>
            <p:cNvSpPr/>
            <p:nvPr/>
          </p:nvSpPr>
          <p:spPr>
            <a:xfrm>
              <a:off x="3011710" y="6074534"/>
              <a:ext cx="238685" cy="250621"/>
            </a:xfrm>
            <a:custGeom>
              <a:avLst/>
              <a:gdLst>
                <a:gd name="connsiteX0" fmla="*/ 27070 w 219456"/>
                <a:gd name="connsiteY0" fmla="*/ 235367 h 230428"/>
                <a:gd name="connsiteX1" fmla="*/ 43891 w 219456"/>
                <a:gd name="connsiteY1" fmla="*/ 235367 h 230428"/>
                <a:gd name="connsiteX2" fmla="*/ 219456 w 219456"/>
                <a:gd name="connsiteY2" fmla="*/ 0 h 230428"/>
                <a:gd name="connsiteX3" fmla="*/ 0 w 219456"/>
                <a:gd name="connsiteY3" fmla="*/ 0 h 230428"/>
                <a:gd name="connsiteX4" fmla="*/ 0 w 219456"/>
                <a:gd name="connsiteY4" fmla="*/ 197510 h 230428"/>
                <a:gd name="connsiteX5" fmla="*/ 27070 w 219456"/>
                <a:gd name="connsiteY5" fmla="*/ 235367 h 23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456" h="230428">
                  <a:moveTo>
                    <a:pt x="27070" y="235367"/>
                  </a:moveTo>
                  <a:lnTo>
                    <a:pt x="43891" y="235367"/>
                  </a:lnTo>
                  <a:lnTo>
                    <a:pt x="219456" y="0"/>
                  </a:lnTo>
                  <a:lnTo>
                    <a:pt x="0" y="0"/>
                  </a:lnTo>
                  <a:lnTo>
                    <a:pt x="0" y="197510"/>
                  </a:lnTo>
                  <a:cubicBezTo>
                    <a:pt x="0" y="213690"/>
                    <a:pt x="11686" y="232601"/>
                    <a:pt x="27070" y="235367"/>
                  </a:cubicBezTo>
                  <a:close/>
                </a:path>
              </a:pathLst>
            </a:custGeom>
            <a:solidFill>
              <a:srgbClr val="FFFFFF">
                <a:alpha val="15000"/>
              </a:srgbClr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AEA55120-2643-4FBC-A208-97DFF874AFE5}"/>
                </a:ext>
              </a:extLst>
            </p:cNvPr>
            <p:cNvSpPr/>
            <p:nvPr/>
          </p:nvSpPr>
          <p:spPr>
            <a:xfrm>
              <a:off x="3011705" y="6027878"/>
              <a:ext cx="291976" cy="41770"/>
            </a:xfrm>
            <a:custGeom>
              <a:avLst/>
              <a:gdLst>
                <a:gd name="connsiteX0" fmla="*/ 263896 w 274320"/>
                <a:gd name="connsiteY0" fmla="*/ 0 h 38404"/>
                <a:gd name="connsiteX1" fmla="*/ 9876 w 274320"/>
                <a:gd name="connsiteY1" fmla="*/ 0 h 38404"/>
                <a:gd name="connsiteX2" fmla="*/ 0 w 274320"/>
                <a:gd name="connsiteY2" fmla="*/ 10424 h 38404"/>
                <a:gd name="connsiteX3" fmla="*/ 0 w 274320"/>
                <a:gd name="connsiteY3" fmla="*/ 43343 h 38404"/>
                <a:gd name="connsiteX4" fmla="*/ 274320 w 274320"/>
                <a:gd name="connsiteY4" fmla="*/ 43343 h 38404"/>
                <a:gd name="connsiteX5" fmla="*/ 274320 w 274320"/>
                <a:gd name="connsiteY5" fmla="*/ 10424 h 38404"/>
                <a:gd name="connsiteX6" fmla="*/ 263896 w 274320"/>
                <a:gd name="connsiteY6" fmla="*/ 1646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38404">
                  <a:moveTo>
                    <a:pt x="263896" y="0"/>
                  </a:moveTo>
                  <a:lnTo>
                    <a:pt x="9876" y="0"/>
                  </a:lnTo>
                  <a:cubicBezTo>
                    <a:pt x="4389" y="0"/>
                    <a:pt x="0" y="4938"/>
                    <a:pt x="0" y="10424"/>
                  </a:cubicBezTo>
                  <a:lnTo>
                    <a:pt x="0" y="43343"/>
                  </a:lnTo>
                  <a:lnTo>
                    <a:pt x="274320" y="43343"/>
                  </a:lnTo>
                  <a:lnTo>
                    <a:pt x="274320" y="10424"/>
                  </a:lnTo>
                  <a:cubicBezTo>
                    <a:pt x="274320" y="4938"/>
                    <a:pt x="269931" y="1646"/>
                    <a:pt x="263896" y="1646"/>
                  </a:cubicBezTo>
                </a:path>
              </a:pathLst>
            </a:custGeom>
            <a:solidFill>
              <a:srgbClr val="959595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32" name="Group 831">
            <a:extLst>
              <a:ext uri="{FF2B5EF4-FFF2-40B4-BE49-F238E27FC236}">
                <a16:creationId xmlns:a16="http://schemas.microsoft.com/office/drawing/2014/main" id="{A2A5629A-C5F8-43DA-9710-79C90E6E3CB5}"/>
              </a:ext>
            </a:extLst>
          </p:cNvPr>
          <p:cNvGrpSpPr/>
          <p:nvPr/>
        </p:nvGrpSpPr>
        <p:grpSpPr>
          <a:xfrm>
            <a:off x="5145831" y="892570"/>
            <a:ext cx="161397" cy="134061"/>
            <a:chOff x="7721210" y="5869251"/>
            <a:chExt cx="274320" cy="227859"/>
          </a:xfrm>
        </p:grpSpPr>
        <p:grpSp>
          <p:nvGrpSpPr>
            <p:cNvPr id="833" name="Group 832">
              <a:extLst>
                <a:ext uri="{FF2B5EF4-FFF2-40B4-BE49-F238E27FC236}">
                  <a16:creationId xmlns:a16="http://schemas.microsoft.com/office/drawing/2014/main" id="{4CAEA25C-0B82-4A09-AAE4-90DF140FFF2D}"/>
                </a:ext>
              </a:extLst>
            </p:cNvPr>
            <p:cNvGrpSpPr/>
            <p:nvPr/>
          </p:nvGrpSpPr>
          <p:grpSpPr>
            <a:xfrm>
              <a:off x="7721210" y="5976113"/>
              <a:ext cx="274320" cy="120997"/>
              <a:chOff x="7721210" y="5976113"/>
              <a:chExt cx="274320" cy="120997"/>
            </a:xfrm>
          </p:grpSpPr>
          <p:sp>
            <p:nvSpPr>
              <p:cNvPr id="840" name="Freeform: Shape 839">
                <a:extLst>
                  <a:ext uri="{FF2B5EF4-FFF2-40B4-BE49-F238E27FC236}">
                    <a16:creationId xmlns:a16="http://schemas.microsoft.com/office/drawing/2014/main" id="{8FAD48A9-AC74-426D-B6CF-4B3E7A9837F2}"/>
                  </a:ext>
                </a:extLst>
              </p:cNvPr>
              <p:cNvSpPr/>
              <p:nvPr/>
            </p:nvSpPr>
            <p:spPr>
              <a:xfrm>
                <a:off x="7721210" y="6025787"/>
                <a:ext cx="274320" cy="71323"/>
              </a:xfrm>
              <a:custGeom>
                <a:avLst/>
                <a:gdLst>
                  <a:gd name="connsiteX0" fmla="*/ 274320 w 274320"/>
                  <a:gd name="connsiteY0" fmla="*/ 26774 h 71323"/>
                  <a:gd name="connsiteX1" fmla="*/ 137160 w 274320"/>
                  <a:gd name="connsiteY1" fmla="*/ 76448 h 71323"/>
                  <a:gd name="connsiteX2" fmla="*/ 0 w 274320"/>
                  <a:gd name="connsiteY2" fmla="*/ 26774 h 71323"/>
                  <a:gd name="connsiteX3" fmla="*/ 0 w 274320"/>
                  <a:gd name="connsiteY3" fmla="*/ 0 h 71323"/>
                  <a:gd name="connsiteX4" fmla="*/ 274320 w 274320"/>
                  <a:gd name="connsiteY4" fmla="*/ 0 h 71323"/>
                  <a:gd name="connsiteX5" fmla="*/ 274320 w 274320"/>
                  <a:gd name="connsiteY5" fmla="*/ 26774 h 7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320" h="71323">
                    <a:moveTo>
                      <a:pt x="274320" y="26774"/>
                    </a:moveTo>
                    <a:cubicBezTo>
                      <a:pt x="274320" y="54211"/>
                      <a:pt x="212905" y="76448"/>
                      <a:pt x="137160" y="76448"/>
                    </a:cubicBezTo>
                    <a:cubicBezTo>
                      <a:pt x="61415" y="76448"/>
                      <a:pt x="0" y="54206"/>
                      <a:pt x="0" y="26774"/>
                    </a:cubicBezTo>
                    <a:lnTo>
                      <a:pt x="0" y="0"/>
                    </a:lnTo>
                    <a:lnTo>
                      <a:pt x="274320" y="0"/>
                    </a:lnTo>
                    <a:lnTo>
                      <a:pt x="274320" y="26774"/>
                    </a:lnTo>
                    <a:close/>
                  </a:path>
                </a:pathLst>
              </a:custGeom>
              <a:solidFill>
                <a:srgbClr val="0072C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1" name="Freeform: Shape 840">
                <a:extLst>
                  <a:ext uri="{FF2B5EF4-FFF2-40B4-BE49-F238E27FC236}">
                    <a16:creationId xmlns:a16="http://schemas.microsoft.com/office/drawing/2014/main" id="{1C9A5B16-9369-4558-94CC-9A9169301CDD}"/>
                  </a:ext>
                </a:extLst>
              </p:cNvPr>
              <p:cNvSpPr/>
              <p:nvPr/>
            </p:nvSpPr>
            <p:spPr>
              <a:xfrm>
                <a:off x="7721210" y="5976113"/>
                <a:ext cx="274320" cy="98755"/>
              </a:xfrm>
              <a:custGeom>
                <a:avLst/>
                <a:gdLst>
                  <a:gd name="connsiteX0" fmla="*/ 274320 w 274320"/>
                  <a:gd name="connsiteY0" fmla="*/ 49674 h 98755"/>
                  <a:gd name="connsiteX1" fmla="*/ 137160 w 274320"/>
                  <a:gd name="connsiteY1" fmla="*/ 99348 h 98755"/>
                  <a:gd name="connsiteX2" fmla="*/ 0 w 274320"/>
                  <a:gd name="connsiteY2" fmla="*/ 49674 h 98755"/>
                  <a:gd name="connsiteX3" fmla="*/ 137160 w 274320"/>
                  <a:gd name="connsiteY3" fmla="*/ 0 h 98755"/>
                  <a:gd name="connsiteX4" fmla="*/ 274320 w 274320"/>
                  <a:gd name="connsiteY4" fmla="*/ 49674 h 9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320" h="98755">
                    <a:moveTo>
                      <a:pt x="274320" y="49674"/>
                    </a:moveTo>
                    <a:cubicBezTo>
                      <a:pt x="274320" y="77111"/>
                      <a:pt x="212905" y="99348"/>
                      <a:pt x="137160" y="99348"/>
                    </a:cubicBezTo>
                    <a:cubicBezTo>
                      <a:pt x="61415" y="99348"/>
                      <a:pt x="0" y="77106"/>
                      <a:pt x="0" y="49674"/>
                    </a:cubicBezTo>
                    <a:cubicBezTo>
                      <a:pt x="0" y="22242"/>
                      <a:pt x="61409" y="0"/>
                      <a:pt x="137160" y="0"/>
                    </a:cubicBezTo>
                    <a:cubicBezTo>
                      <a:pt x="212911" y="0"/>
                      <a:pt x="274320" y="22236"/>
                      <a:pt x="274320" y="49674"/>
                    </a:cubicBezTo>
                  </a:path>
                </a:pathLst>
              </a:custGeom>
              <a:solidFill>
                <a:srgbClr val="59B4D9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2" name="Freeform: Shape 841">
                <a:extLst>
                  <a:ext uri="{FF2B5EF4-FFF2-40B4-BE49-F238E27FC236}">
                    <a16:creationId xmlns:a16="http://schemas.microsoft.com/office/drawing/2014/main" id="{0D0DC664-F20E-4AEB-A21A-06CE2F19155A}"/>
                  </a:ext>
                </a:extLst>
              </p:cNvPr>
              <p:cNvSpPr/>
              <p:nvPr/>
            </p:nvSpPr>
            <p:spPr>
              <a:xfrm>
                <a:off x="7814391" y="6009723"/>
                <a:ext cx="87782" cy="21946"/>
              </a:xfrm>
              <a:custGeom>
                <a:avLst/>
                <a:gdLst>
                  <a:gd name="connsiteX0" fmla="*/ 87942 w 87782"/>
                  <a:gd name="connsiteY0" fmla="*/ 13206 h 21945"/>
                  <a:gd name="connsiteX1" fmla="*/ 43974 w 87782"/>
                  <a:gd name="connsiteY1" fmla="*/ 26412 h 21945"/>
                  <a:gd name="connsiteX2" fmla="*/ 0 w 87782"/>
                  <a:gd name="connsiteY2" fmla="*/ 13206 h 21945"/>
                  <a:gd name="connsiteX3" fmla="*/ 43974 w 87782"/>
                  <a:gd name="connsiteY3" fmla="*/ 0 h 21945"/>
                  <a:gd name="connsiteX4" fmla="*/ 87942 w 87782"/>
                  <a:gd name="connsiteY4" fmla="*/ 13206 h 21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782" h="21945">
                    <a:moveTo>
                      <a:pt x="87942" y="13206"/>
                    </a:moveTo>
                    <a:cubicBezTo>
                      <a:pt x="87942" y="20503"/>
                      <a:pt x="68256" y="26412"/>
                      <a:pt x="43974" y="26412"/>
                    </a:cubicBezTo>
                    <a:cubicBezTo>
                      <a:pt x="19691" y="26412"/>
                      <a:pt x="0" y="20503"/>
                      <a:pt x="0" y="13206"/>
                    </a:cubicBezTo>
                    <a:cubicBezTo>
                      <a:pt x="0" y="5909"/>
                      <a:pt x="19691" y="0"/>
                      <a:pt x="43974" y="0"/>
                    </a:cubicBezTo>
                    <a:cubicBezTo>
                      <a:pt x="68256" y="0"/>
                      <a:pt x="87942" y="5909"/>
                      <a:pt x="87942" y="13206"/>
                    </a:cubicBezTo>
                  </a:path>
                </a:pathLst>
              </a:custGeom>
              <a:solidFill>
                <a:srgbClr val="0072C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3" name="Freeform: Shape 842">
                <a:extLst>
                  <a:ext uri="{FF2B5EF4-FFF2-40B4-BE49-F238E27FC236}">
                    <a16:creationId xmlns:a16="http://schemas.microsoft.com/office/drawing/2014/main" id="{E308148B-0985-4D03-AA71-039730E5411A}"/>
                  </a:ext>
                </a:extLst>
              </p:cNvPr>
              <p:cNvSpPr/>
              <p:nvPr/>
            </p:nvSpPr>
            <p:spPr>
              <a:xfrm>
                <a:off x="7866863" y="5977035"/>
                <a:ext cx="87782" cy="32918"/>
              </a:xfrm>
              <a:custGeom>
                <a:avLst/>
                <a:gdLst>
                  <a:gd name="connsiteX0" fmla="*/ 90652 w 87782"/>
                  <a:gd name="connsiteY0" fmla="*/ 14446 h 32918"/>
                  <a:gd name="connsiteX1" fmla="*/ 17798 w 87782"/>
                  <a:gd name="connsiteY1" fmla="*/ 0 h 32918"/>
                  <a:gd name="connsiteX2" fmla="*/ 0 w 87782"/>
                  <a:gd name="connsiteY2" fmla="*/ 32940 h 32918"/>
                  <a:gd name="connsiteX3" fmla="*/ 22642 w 87782"/>
                  <a:gd name="connsiteY3" fmla="*/ 36572 h 32918"/>
                  <a:gd name="connsiteX4" fmla="*/ 90652 w 87782"/>
                  <a:gd name="connsiteY4" fmla="*/ 14446 h 32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782" h="32918">
                    <a:moveTo>
                      <a:pt x="90652" y="14446"/>
                    </a:moveTo>
                    <a:cubicBezTo>
                      <a:pt x="71438" y="7165"/>
                      <a:pt x="46190" y="1997"/>
                      <a:pt x="17798" y="0"/>
                    </a:cubicBezTo>
                    <a:lnTo>
                      <a:pt x="0" y="32940"/>
                    </a:lnTo>
                    <a:cubicBezTo>
                      <a:pt x="8756" y="33456"/>
                      <a:pt x="16585" y="34745"/>
                      <a:pt x="22642" y="36572"/>
                    </a:cubicBezTo>
                    <a:lnTo>
                      <a:pt x="90652" y="14446"/>
                    </a:lnTo>
                    <a:close/>
                  </a:path>
                </a:pathLst>
              </a:custGeom>
              <a:solidFill>
                <a:srgbClr val="FFFFFF">
                  <a:alpha val="25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4" name="Freeform: Shape 843">
                <a:extLst>
                  <a:ext uri="{FF2B5EF4-FFF2-40B4-BE49-F238E27FC236}">
                    <a16:creationId xmlns:a16="http://schemas.microsoft.com/office/drawing/2014/main" id="{0776C0F6-D190-4674-AB14-8245F30946E4}"/>
                  </a:ext>
                </a:extLst>
              </p:cNvPr>
              <p:cNvSpPr/>
              <p:nvPr/>
            </p:nvSpPr>
            <p:spPr>
              <a:xfrm>
                <a:off x="7753591" y="6032991"/>
                <a:ext cx="98755" cy="38405"/>
              </a:xfrm>
              <a:custGeom>
                <a:avLst/>
                <a:gdLst>
                  <a:gd name="connsiteX0" fmla="*/ 0 w 98755"/>
                  <a:gd name="connsiteY0" fmla="*/ 24837 h 38404"/>
                  <a:gd name="connsiteX1" fmla="*/ 78390 w 98755"/>
                  <a:gd name="connsiteY1" fmla="*/ 41543 h 38404"/>
                  <a:gd name="connsiteX2" fmla="*/ 99200 w 98755"/>
                  <a:gd name="connsiteY2" fmla="*/ 3028 h 38404"/>
                  <a:gd name="connsiteX3" fmla="*/ 76332 w 98755"/>
                  <a:gd name="connsiteY3" fmla="*/ 0 h 38404"/>
                  <a:gd name="connsiteX4" fmla="*/ 0 w 98755"/>
                  <a:gd name="connsiteY4" fmla="*/ 24837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55" h="38404">
                    <a:moveTo>
                      <a:pt x="0" y="24837"/>
                    </a:moveTo>
                    <a:cubicBezTo>
                      <a:pt x="19757" y="33302"/>
                      <a:pt x="47172" y="39337"/>
                      <a:pt x="78390" y="41543"/>
                    </a:cubicBezTo>
                    <a:lnTo>
                      <a:pt x="99200" y="3028"/>
                    </a:lnTo>
                    <a:cubicBezTo>
                      <a:pt x="90537" y="2699"/>
                      <a:pt x="82664" y="1618"/>
                      <a:pt x="76332" y="0"/>
                    </a:cubicBezTo>
                    <a:lnTo>
                      <a:pt x="0" y="24837"/>
                    </a:lnTo>
                    <a:close/>
                  </a:path>
                </a:pathLst>
              </a:custGeom>
              <a:solidFill>
                <a:srgbClr val="FFFFFF">
                  <a:alpha val="25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34" name="Group 833">
              <a:extLst>
                <a:ext uri="{FF2B5EF4-FFF2-40B4-BE49-F238E27FC236}">
                  <a16:creationId xmlns:a16="http://schemas.microsoft.com/office/drawing/2014/main" id="{74E218B3-5CE5-41CF-9655-5AE27B7C5AC0}"/>
                </a:ext>
              </a:extLst>
            </p:cNvPr>
            <p:cNvGrpSpPr/>
            <p:nvPr/>
          </p:nvGrpSpPr>
          <p:grpSpPr>
            <a:xfrm>
              <a:off x="7721210" y="5869251"/>
              <a:ext cx="274320" cy="120996"/>
              <a:chOff x="7721210" y="5869251"/>
              <a:chExt cx="274320" cy="120996"/>
            </a:xfrm>
          </p:grpSpPr>
          <p:sp>
            <p:nvSpPr>
              <p:cNvPr id="835" name="Freeform: Shape 834">
                <a:extLst>
                  <a:ext uri="{FF2B5EF4-FFF2-40B4-BE49-F238E27FC236}">
                    <a16:creationId xmlns:a16="http://schemas.microsoft.com/office/drawing/2014/main" id="{5ABF514F-ADF2-425F-B057-A473AE0EDC9B}"/>
                  </a:ext>
                </a:extLst>
              </p:cNvPr>
              <p:cNvSpPr/>
              <p:nvPr/>
            </p:nvSpPr>
            <p:spPr>
              <a:xfrm>
                <a:off x="7721210" y="5918924"/>
                <a:ext cx="274320" cy="71323"/>
              </a:xfrm>
              <a:custGeom>
                <a:avLst/>
                <a:gdLst>
                  <a:gd name="connsiteX0" fmla="*/ 274320 w 274320"/>
                  <a:gd name="connsiteY0" fmla="*/ 26774 h 71323"/>
                  <a:gd name="connsiteX1" fmla="*/ 137160 w 274320"/>
                  <a:gd name="connsiteY1" fmla="*/ 76447 h 71323"/>
                  <a:gd name="connsiteX2" fmla="*/ 0 w 274320"/>
                  <a:gd name="connsiteY2" fmla="*/ 26774 h 71323"/>
                  <a:gd name="connsiteX3" fmla="*/ 0 w 274320"/>
                  <a:gd name="connsiteY3" fmla="*/ 0 h 71323"/>
                  <a:gd name="connsiteX4" fmla="*/ 274320 w 274320"/>
                  <a:gd name="connsiteY4" fmla="*/ 0 h 71323"/>
                  <a:gd name="connsiteX5" fmla="*/ 274320 w 274320"/>
                  <a:gd name="connsiteY5" fmla="*/ 26774 h 71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4320" h="71323">
                    <a:moveTo>
                      <a:pt x="274320" y="26774"/>
                    </a:moveTo>
                    <a:cubicBezTo>
                      <a:pt x="274320" y="54211"/>
                      <a:pt x="212905" y="76447"/>
                      <a:pt x="137160" y="76447"/>
                    </a:cubicBezTo>
                    <a:cubicBezTo>
                      <a:pt x="61415" y="76447"/>
                      <a:pt x="0" y="54211"/>
                      <a:pt x="0" y="26774"/>
                    </a:cubicBezTo>
                    <a:lnTo>
                      <a:pt x="0" y="0"/>
                    </a:lnTo>
                    <a:lnTo>
                      <a:pt x="274320" y="0"/>
                    </a:lnTo>
                    <a:lnTo>
                      <a:pt x="274320" y="26774"/>
                    </a:lnTo>
                    <a:close/>
                  </a:path>
                </a:pathLst>
              </a:custGeom>
              <a:solidFill>
                <a:srgbClr val="661F79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6" name="Freeform: Shape 835">
                <a:extLst>
                  <a:ext uri="{FF2B5EF4-FFF2-40B4-BE49-F238E27FC236}">
                    <a16:creationId xmlns:a16="http://schemas.microsoft.com/office/drawing/2014/main" id="{14783A7D-D4D3-4D90-AC11-BB59A8CA9F85}"/>
                  </a:ext>
                </a:extLst>
              </p:cNvPr>
              <p:cNvSpPr/>
              <p:nvPr/>
            </p:nvSpPr>
            <p:spPr>
              <a:xfrm>
                <a:off x="7721210" y="5869251"/>
                <a:ext cx="274320" cy="98755"/>
              </a:xfrm>
              <a:custGeom>
                <a:avLst/>
                <a:gdLst>
                  <a:gd name="connsiteX0" fmla="*/ 274320 w 274320"/>
                  <a:gd name="connsiteY0" fmla="*/ 49674 h 98755"/>
                  <a:gd name="connsiteX1" fmla="*/ 137160 w 274320"/>
                  <a:gd name="connsiteY1" fmla="*/ 99348 h 98755"/>
                  <a:gd name="connsiteX2" fmla="*/ 0 w 274320"/>
                  <a:gd name="connsiteY2" fmla="*/ 49674 h 98755"/>
                  <a:gd name="connsiteX3" fmla="*/ 137160 w 274320"/>
                  <a:gd name="connsiteY3" fmla="*/ 0 h 98755"/>
                  <a:gd name="connsiteX4" fmla="*/ 274320 w 274320"/>
                  <a:gd name="connsiteY4" fmla="*/ 49674 h 9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320" h="98755">
                    <a:moveTo>
                      <a:pt x="274320" y="49674"/>
                    </a:moveTo>
                    <a:cubicBezTo>
                      <a:pt x="274320" y="77111"/>
                      <a:pt x="212905" y="99348"/>
                      <a:pt x="137160" y="99348"/>
                    </a:cubicBezTo>
                    <a:cubicBezTo>
                      <a:pt x="61415" y="99348"/>
                      <a:pt x="0" y="77111"/>
                      <a:pt x="0" y="49674"/>
                    </a:cubicBezTo>
                    <a:cubicBezTo>
                      <a:pt x="0" y="22242"/>
                      <a:pt x="61409" y="0"/>
                      <a:pt x="137160" y="0"/>
                    </a:cubicBezTo>
                    <a:cubicBezTo>
                      <a:pt x="212911" y="0"/>
                      <a:pt x="274320" y="22242"/>
                      <a:pt x="274320" y="49674"/>
                    </a:cubicBezTo>
                  </a:path>
                </a:pathLst>
              </a:custGeom>
              <a:solidFill>
                <a:srgbClr val="9B4F9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7" name="Freeform: Shape 836">
                <a:extLst>
                  <a:ext uri="{FF2B5EF4-FFF2-40B4-BE49-F238E27FC236}">
                    <a16:creationId xmlns:a16="http://schemas.microsoft.com/office/drawing/2014/main" id="{D2065870-5E4F-47E9-AD72-B137BA7B4524}"/>
                  </a:ext>
                </a:extLst>
              </p:cNvPr>
              <p:cNvSpPr/>
              <p:nvPr/>
            </p:nvSpPr>
            <p:spPr>
              <a:xfrm>
                <a:off x="7814391" y="5902860"/>
                <a:ext cx="87782" cy="21946"/>
              </a:xfrm>
              <a:custGeom>
                <a:avLst/>
                <a:gdLst>
                  <a:gd name="connsiteX0" fmla="*/ 87942 w 87782"/>
                  <a:gd name="connsiteY0" fmla="*/ 13206 h 21945"/>
                  <a:gd name="connsiteX1" fmla="*/ 43974 w 87782"/>
                  <a:gd name="connsiteY1" fmla="*/ 26412 h 21945"/>
                  <a:gd name="connsiteX2" fmla="*/ 0 w 87782"/>
                  <a:gd name="connsiteY2" fmla="*/ 13206 h 21945"/>
                  <a:gd name="connsiteX3" fmla="*/ 43974 w 87782"/>
                  <a:gd name="connsiteY3" fmla="*/ 0 h 21945"/>
                  <a:gd name="connsiteX4" fmla="*/ 87942 w 87782"/>
                  <a:gd name="connsiteY4" fmla="*/ 13206 h 21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782" h="21945">
                    <a:moveTo>
                      <a:pt x="87942" y="13206"/>
                    </a:moveTo>
                    <a:cubicBezTo>
                      <a:pt x="87942" y="20503"/>
                      <a:pt x="68256" y="26412"/>
                      <a:pt x="43974" y="26412"/>
                    </a:cubicBezTo>
                    <a:cubicBezTo>
                      <a:pt x="19691" y="26412"/>
                      <a:pt x="0" y="20503"/>
                      <a:pt x="0" y="13206"/>
                    </a:cubicBezTo>
                    <a:cubicBezTo>
                      <a:pt x="0" y="5909"/>
                      <a:pt x="19691" y="0"/>
                      <a:pt x="43974" y="0"/>
                    </a:cubicBezTo>
                    <a:cubicBezTo>
                      <a:pt x="68256" y="0"/>
                      <a:pt x="87942" y="5914"/>
                      <a:pt x="87942" y="13206"/>
                    </a:cubicBezTo>
                  </a:path>
                </a:pathLst>
              </a:custGeom>
              <a:solidFill>
                <a:srgbClr val="68217A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8" name="Freeform: Shape 837">
                <a:extLst>
                  <a:ext uri="{FF2B5EF4-FFF2-40B4-BE49-F238E27FC236}">
                    <a16:creationId xmlns:a16="http://schemas.microsoft.com/office/drawing/2014/main" id="{360DF074-E011-4068-BF37-1375BFE02C79}"/>
                  </a:ext>
                </a:extLst>
              </p:cNvPr>
              <p:cNvSpPr/>
              <p:nvPr/>
            </p:nvSpPr>
            <p:spPr>
              <a:xfrm>
                <a:off x="7866863" y="5870447"/>
                <a:ext cx="87782" cy="32918"/>
              </a:xfrm>
              <a:custGeom>
                <a:avLst/>
                <a:gdLst>
                  <a:gd name="connsiteX0" fmla="*/ 90652 w 87782"/>
                  <a:gd name="connsiteY0" fmla="*/ 14446 h 32918"/>
                  <a:gd name="connsiteX1" fmla="*/ 17798 w 87782"/>
                  <a:gd name="connsiteY1" fmla="*/ 0 h 32918"/>
                  <a:gd name="connsiteX2" fmla="*/ 0 w 87782"/>
                  <a:gd name="connsiteY2" fmla="*/ 32940 h 32918"/>
                  <a:gd name="connsiteX3" fmla="*/ 22642 w 87782"/>
                  <a:gd name="connsiteY3" fmla="*/ 36572 h 32918"/>
                  <a:gd name="connsiteX4" fmla="*/ 90652 w 87782"/>
                  <a:gd name="connsiteY4" fmla="*/ 14446 h 32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782" h="32918">
                    <a:moveTo>
                      <a:pt x="90652" y="14446"/>
                    </a:moveTo>
                    <a:cubicBezTo>
                      <a:pt x="71438" y="7165"/>
                      <a:pt x="46190" y="1997"/>
                      <a:pt x="17798" y="0"/>
                    </a:cubicBezTo>
                    <a:lnTo>
                      <a:pt x="0" y="32940"/>
                    </a:lnTo>
                    <a:cubicBezTo>
                      <a:pt x="8756" y="33456"/>
                      <a:pt x="16585" y="34745"/>
                      <a:pt x="22642" y="36572"/>
                    </a:cubicBezTo>
                    <a:lnTo>
                      <a:pt x="90652" y="14446"/>
                    </a:lnTo>
                    <a:close/>
                  </a:path>
                </a:pathLst>
              </a:custGeom>
              <a:solidFill>
                <a:srgbClr val="FFFFFF">
                  <a:alpha val="25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9" name="Freeform: Shape 838">
                <a:extLst>
                  <a:ext uri="{FF2B5EF4-FFF2-40B4-BE49-F238E27FC236}">
                    <a16:creationId xmlns:a16="http://schemas.microsoft.com/office/drawing/2014/main" id="{02A3FA61-559B-4397-BC50-F8709EC9EF66}"/>
                  </a:ext>
                </a:extLst>
              </p:cNvPr>
              <p:cNvSpPr/>
              <p:nvPr/>
            </p:nvSpPr>
            <p:spPr>
              <a:xfrm>
                <a:off x="7753591" y="5926402"/>
                <a:ext cx="98755" cy="38405"/>
              </a:xfrm>
              <a:custGeom>
                <a:avLst/>
                <a:gdLst>
                  <a:gd name="connsiteX0" fmla="*/ 0 w 98755"/>
                  <a:gd name="connsiteY0" fmla="*/ 24837 h 38404"/>
                  <a:gd name="connsiteX1" fmla="*/ 78390 w 98755"/>
                  <a:gd name="connsiteY1" fmla="*/ 41543 h 38404"/>
                  <a:gd name="connsiteX2" fmla="*/ 99200 w 98755"/>
                  <a:gd name="connsiteY2" fmla="*/ 3029 h 38404"/>
                  <a:gd name="connsiteX3" fmla="*/ 76332 w 98755"/>
                  <a:gd name="connsiteY3" fmla="*/ 0 h 38404"/>
                  <a:gd name="connsiteX4" fmla="*/ 0 w 98755"/>
                  <a:gd name="connsiteY4" fmla="*/ 24837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55" h="38404">
                    <a:moveTo>
                      <a:pt x="0" y="24837"/>
                    </a:moveTo>
                    <a:cubicBezTo>
                      <a:pt x="19757" y="33302"/>
                      <a:pt x="47172" y="39338"/>
                      <a:pt x="78390" y="41543"/>
                    </a:cubicBezTo>
                    <a:lnTo>
                      <a:pt x="99200" y="3029"/>
                    </a:lnTo>
                    <a:cubicBezTo>
                      <a:pt x="90537" y="2699"/>
                      <a:pt x="82664" y="1618"/>
                      <a:pt x="76332" y="0"/>
                    </a:cubicBezTo>
                    <a:lnTo>
                      <a:pt x="0" y="24837"/>
                    </a:lnTo>
                    <a:close/>
                  </a:path>
                </a:pathLst>
              </a:custGeom>
              <a:solidFill>
                <a:srgbClr val="FFFFFF">
                  <a:alpha val="25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45" name="Group 844">
            <a:extLst>
              <a:ext uri="{FF2B5EF4-FFF2-40B4-BE49-F238E27FC236}">
                <a16:creationId xmlns:a16="http://schemas.microsoft.com/office/drawing/2014/main" id="{F3D5109B-0523-4474-9578-F0D4EA620F4B}"/>
              </a:ext>
            </a:extLst>
          </p:cNvPr>
          <p:cNvGrpSpPr/>
          <p:nvPr/>
        </p:nvGrpSpPr>
        <p:grpSpPr>
          <a:xfrm>
            <a:off x="1029393" y="883983"/>
            <a:ext cx="176265" cy="151235"/>
            <a:chOff x="77767" y="5262140"/>
            <a:chExt cx="1481678" cy="1271288"/>
          </a:xfrm>
        </p:grpSpPr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3F8D343C-64B2-41D7-B7A6-F7BBE343C3EF}"/>
                </a:ext>
              </a:extLst>
            </p:cNvPr>
            <p:cNvSpPr/>
            <p:nvPr/>
          </p:nvSpPr>
          <p:spPr>
            <a:xfrm>
              <a:off x="77767" y="5496249"/>
              <a:ext cx="1481678" cy="1037179"/>
            </a:xfrm>
            <a:custGeom>
              <a:avLst/>
              <a:gdLst>
                <a:gd name="connsiteX0" fmla="*/ 0 w 274320"/>
                <a:gd name="connsiteY0" fmla="*/ 181600 h 192024"/>
                <a:gd name="connsiteX1" fmla="*/ 9876 w 274320"/>
                <a:gd name="connsiteY1" fmla="*/ 192024 h 192024"/>
                <a:gd name="connsiteX2" fmla="*/ 263896 w 274320"/>
                <a:gd name="connsiteY2" fmla="*/ 192024 h 192024"/>
                <a:gd name="connsiteX3" fmla="*/ 274320 w 274320"/>
                <a:gd name="connsiteY3" fmla="*/ 181600 h 192024"/>
                <a:gd name="connsiteX4" fmla="*/ 274320 w 274320"/>
                <a:gd name="connsiteY4" fmla="*/ 0 h 192024"/>
                <a:gd name="connsiteX5" fmla="*/ 0 w 274320"/>
                <a:gd name="connsiteY5" fmla="*/ 0 h 192024"/>
                <a:gd name="connsiteX6" fmla="*/ 0 w 274320"/>
                <a:gd name="connsiteY6" fmla="*/ 181600 h 19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192024">
                  <a:moveTo>
                    <a:pt x="0" y="181600"/>
                  </a:moveTo>
                  <a:cubicBezTo>
                    <a:pt x="0" y="187086"/>
                    <a:pt x="4389" y="192024"/>
                    <a:pt x="9876" y="192024"/>
                  </a:cubicBezTo>
                  <a:lnTo>
                    <a:pt x="263896" y="192024"/>
                  </a:lnTo>
                  <a:cubicBezTo>
                    <a:pt x="269382" y="192024"/>
                    <a:pt x="274320" y="187635"/>
                    <a:pt x="274320" y="181600"/>
                  </a:cubicBezTo>
                  <a:lnTo>
                    <a:pt x="274320" y="0"/>
                  </a:lnTo>
                  <a:lnTo>
                    <a:pt x="0" y="0"/>
                  </a:lnTo>
                  <a:lnTo>
                    <a:pt x="0" y="181600"/>
                  </a:lnTo>
                  <a:close/>
                </a:path>
              </a:pathLst>
            </a:custGeom>
            <a:solidFill>
              <a:srgbClr val="B3B4B5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414ECFFB-0476-442E-BDD1-32242950ECF3}"/>
                </a:ext>
              </a:extLst>
            </p:cNvPr>
            <p:cNvSpPr/>
            <p:nvPr/>
          </p:nvSpPr>
          <p:spPr>
            <a:xfrm>
              <a:off x="77767" y="5262140"/>
              <a:ext cx="1481678" cy="207437"/>
            </a:xfrm>
            <a:custGeom>
              <a:avLst/>
              <a:gdLst>
                <a:gd name="connsiteX0" fmla="*/ 263896 w 274320"/>
                <a:gd name="connsiteY0" fmla="*/ 0 h 38404"/>
                <a:gd name="connsiteX1" fmla="*/ 9876 w 274320"/>
                <a:gd name="connsiteY1" fmla="*/ 0 h 38404"/>
                <a:gd name="connsiteX2" fmla="*/ 0 w 274320"/>
                <a:gd name="connsiteY2" fmla="*/ 10424 h 38404"/>
                <a:gd name="connsiteX3" fmla="*/ 0 w 274320"/>
                <a:gd name="connsiteY3" fmla="*/ 43343 h 38404"/>
                <a:gd name="connsiteX4" fmla="*/ 274320 w 274320"/>
                <a:gd name="connsiteY4" fmla="*/ 43343 h 38404"/>
                <a:gd name="connsiteX5" fmla="*/ 274320 w 274320"/>
                <a:gd name="connsiteY5" fmla="*/ 10424 h 38404"/>
                <a:gd name="connsiteX6" fmla="*/ 263896 w 274320"/>
                <a:gd name="connsiteY6" fmla="*/ 1646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38404">
                  <a:moveTo>
                    <a:pt x="263896" y="0"/>
                  </a:moveTo>
                  <a:lnTo>
                    <a:pt x="9876" y="0"/>
                  </a:lnTo>
                  <a:cubicBezTo>
                    <a:pt x="4389" y="0"/>
                    <a:pt x="0" y="4938"/>
                    <a:pt x="0" y="10424"/>
                  </a:cubicBezTo>
                  <a:lnTo>
                    <a:pt x="0" y="43343"/>
                  </a:lnTo>
                  <a:lnTo>
                    <a:pt x="274320" y="43343"/>
                  </a:lnTo>
                  <a:lnTo>
                    <a:pt x="274320" y="10424"/>
                  </a:lnTo>
                  <a:cubicBezTo>
                    <a:pt x="274320" y="4938"/>
                    <a:pt x="269931" y="1646"/>
                    <a:pt x="263896" y="1646"/>
                  </a:cubicBezTo>
                </a:path>
              </a:pathLst>
            </a:custGeom>
            <a:solidFill>
              <a:srgbClr val="7A7A7A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FE0C911B-3E5F-46E4-855B-089F14E1B7F5}"/>
                </a:ext>
              </a:extLst>
            </p:cNvPr>
            <p:cNvSpPr/>
            <p:nvPr/>
          </p:nvSpPr>
          <p:spPr>
            <a:xfrm>
              <a:off x="200002" y="605970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2E1C0544-C31C-4589-8657-69D3743EAB92}"/>
                </a:ext>
              </a:extLst>
            </p:cNvPr>
            <p:cNvSpPr/>
            <p:nvPr/>
          </p:nvSpPr>
          <p:spPr>
            <a:xfrm>
              <a:off x="200002" y="558613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645E063B-ABF2-4065-B755-6AB8F44D67CF}"/>
                </a:ext>
              </a:extLst>
            </p:cNvPr>
            <p:cNvSpPr/>
            <p:nvPr/>
          </p:nvSpPr>
          <p:spPr>
            <a:xfrm>
              <a:off x="200002" y="6296485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59F1E17-76C8-451E-84B6-E6F996D5CC88}"/>
                </a:ext>
              </a:extLst>
            </p:cNvPr>
            <p:cNvSpPr/>
            <p:nvPr/>
          </p:nvSpPr>
          <p:spPr>
            <a:xfrm>
              <a:off x="200002" y="5822916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6D65DC3C-98A1-48E3-A3C4-35242440DEC6}"/>
                </a:ext>
              </a:extLst>
            </p:cNvPr>
            <p:cNvSpPr/>
            <p:nvPr/>
          </p:nvSpPr>
          <p:spPr>
            <a:xfrm>
              <a:off x="519089" y="605970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B26A1BC0-6FA7-4D59-83FC-E02B0F403C8B}"/>
                </a:ext>
              </a:extLst>
            </p:cNvPr>
            <p:cNvSpPr/>
            <p:nvPr/>
          </p:nvSpPr>
          <p:spPr>
            <a:xfrm>
              <a:off x="519089" y="558613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8908685-3249-448D-9AEC-E89E07721313}"/>
                </a:ext>
              </a:extLst>
            </p:cNvPr>
            <p:cNvSpPr/>
            <p:nvPr/>
          </p:nvSpPr>
          <p:spPr>
            <a:xfrm>
              <a:off x="519089" y="6296485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F0E70A30-6AC4-4801-8CC6-5F114A0B0962}"/>
                </a:ext>
              </a:extLst>
            </p:cNvPr>
            <p:cNvSpPr/>
            <p:nvPr/>
          </p:nvSpPr>
          <p:spPr>
            <a:xfrm>
              <a:off x="519089" y="5822916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D8D314FE-76DC-4A30-B990-9753E66F723A}"/>
                </a:ext>
              </a:extLst>
            </p:cNvPr>
            <p:cNvSpPr/>
            <p:nvPr/>
          </p:nvSpPr>
          <p:spPr>
            <a:xfrm>
              <a:off x="838176" y="605970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759F42A3-64C3-42B9-903A-5BE219A609CD}"/>
                </a:ext>
              </a:extLst>
            </p:cNvPr>
            <p:cNvSpPr/>
            <p:nvPr/>
          </p:nvSpPr>
          <p:spPr>
            <a:xfrm>
              <a:off x="838176" y="558613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273DAD48-0036-4518-B704-F7B128DF84AA}"/>
                </a:ext>
              </a:extLst>
            </p:cNvPr>
            <p:cNvSpPr/>
            <p:nvPr/>
          </p:nvSpPr>
          <p:spPr>
            <a:xfrm>
              <a:off x="838176" y="6296485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3B02834F-508E-4D63-8401-77893A02B74B}"/>
                </a:ext>
              </a:extLst>
            </p:cNvPr>
            <p:cNvSpPr/>
            <p:nvPr/>
          </p:nvSpPr>
          <p:spPr>
            <a:xfrm>
              <a:off x="838176" y="5822916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FAF42665-3229-413D-8E0D-BF0AF3E9D8B8}"/>
                </a:ext>
              </a:extLst>
            </p:cNvPr>
            <p:cNvSpPr/>
            <p:nvPr/>
          </p:nvSpPr>
          <p:spPr>
            <a:xfrm>
              <a:off x="1157263" y="605970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68C94F5C-A3A3-4FD8-A9C1-DD96E40D9ABB}"/>
                </a:ext>
              </a:extLst>
            </p:cNvPr>
            <p:cNvSpPr/>
            <p:nvPr/>
          </p:nvSpPr>
          <p:spPr>
            <a:xfrm>
              <a:off x="1157263" y="5586131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7AA250F8-4AEC-4BCD-810E-9D7AE2B88AA5}"/>
                </a:ext>
              </a:extLst>
            </p:cNvPr>
            <p:cNvSpPr/>
            <p:nvPr/>
          </p:nvSpPr>
          <p:spPr>
            <a:xfrm>
              <a:off x="1157263" y="6296485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B8D432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637BB87-2787-48CB-A532-431907A5054F}"/>
                </a:ext>
              </a:extLst>
            </p:cNvPr>
            <p:cNvSpPr/>
            <p:nvPr/>
          </p:nvSpPr>
          <p:spPr>
            <a:xfrm>
              <a:off x="1157263" y="5822916"/>
              <a:ext cx="279947" cy="147061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64" name="Graphic 863">
            <a:extLst>
              <a:ext uri="{FF2B5EF4-FFF2-40B4-BE49-F238E27FC236}">
                <a16:creationId xmlns:a16="http://schemas.microsoft.com/office/drawing/2014/main" id="{C7CA2EBE-2509-4659-960D-4BDF3EAFDB5D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3457073" y="885193"/>
            <a:ext cx="148813" cy="148813"/>
          </a:xfrm>
          <a:prstGeom prst="rect">
            <a:avLst/>
          </a:prstGeom>
        </p:spPr>
      </p:pic>
      <p:grpSp>
        <p:nvGrpSpPr>
          <p:cNvPr id="865" name="Group 864">
            <a:extLst>
              <a:ext uri="{FF2B5EF4-FFF2-40B4-BE49-F238E27FC236}">
                <a16:creationId xmlns:a16="http://schemas.microsoft.com/office/drawing/2014/main" id="{BABD4829-F48D-46F1-9E20-9E2608FBE516}"/>
              </a:ext>
            </a:extLst>
          </p:cNvPr>
          <p:cNvGrpSpPr/>
          <p:nvPr/>
        </p:nvGrpSpPr>
        <p:grpSpPr>
          <a:xfrm>
            <a:off x="6192752" y="880926"/>
            <a:ext cx="183392" cy="157350"/>
            <a:chOff x="8501429" y="5895514"/>
            <a:chExt cx="1386898" cy="1189960"/>
          </a:xfrm>
        </p:grpSpPr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6006255F-9D91-4ACA-AD12-24645BCF4429}"/>
                </a:ext>
              </a:extLst>
            </p:cNvPr>
            <p:cNvSpPr/>
            <p:nvPr/>
          </p:nvSpPr>
          <p:spPr>
            <a:xfrm>
              <a:off x="8501429" y="6114648"/>
              <a:ext cx="1386898" cy="970826"/>
            </a:xfrm>
            <a:custGeom>
              <a:avLst/>
              <a:gdLst>
                <a:gd name="connsiteX0" fmla="*/ 0 w 274320"/>
                <a:gd name="connsiteY0" fmla="*/ 181600 h 192024"/>
                <a:gd name="connsiteX1" fmla="*/ 9876 w 274320"/>
                <a:gd name="connsiteY1" fmla="*/ 192024 h 192024"/>
                <a:gd name="connsiteX2" fmla="*/ 263896 w 274320"/>
                <a:gd name="connsiteY2" fmla="*/ 192024 h 192024"/>
                <a:gd name="connsiteX3" fmla="*/ 274320 w 274320"/>
                <a:gd name="connsiteY3" fmla="*/ 181600 h 192024"/>
                <a:gd name="connsiteX4" fmla="*/ 274320 w 274320"/>
                <a:gd name="connsiteY4" fmla="*/ 0 h 192024"/>
                <a:gd name="connsiteX5" fmla="*/ 0 w 274320"/>
                <a:gd name="connsiteY5" fmla="*/ 0 h 192024"/>
                <a:gd name="connsiteX6" fmla="*/ 0 w 274320"/>
                <a:gd name="connsiteY6" fmla="*/ 181600 h 19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192024">
                  <a:moveTo>
                    <a:pt x="0" y="181600"/>
                  </a:moveTo>
                  <a:cubicBezTo>
                    <a:pt x="0" y="187086"/>
                    <a:pt x="4389" y="192024"/>
                    <a:pt x="9876" y="192024"/>
                  </a:cubicBezTo>
                  <a:lnTo>
                    <a:pt x="263896" y="192024"/>
                  </a:lnTo>
                  <a:cubicBezTo>
                    <a:pt x="269382" y="192024"/>
                    <a:pt x="274320" y="187635"/>
                    <a:pt x="274320" y="181600"/>
                  </a:cubicBezTo>
                  <a:lnTo>
                    <a:pt x="274320" y="0"/>
                  </a:lnTo>
                  <a:lnTo>
                    <a:pt x="0" y="0"/>
                  </a:lnTo>
                  <a:lnTo>
                    <a:pt x="0" y="181600"/>
                  </a:lnTo>
                  <a:close/>
                </a:path>
              </a:pathLst>
            </a:custGeom>
            <a:solidFill>
              <a:srgbClr val="B3B4B5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B78F6389-FA0A-408A-BC63-9AAE1DC53BE8}"/>
                </a:ext>
              </a:extLst>
            </p:cNvPr>
            <p:cNvSpPr/>
            <p:nvPr/>
          </p:nvSpPr>
          <p:spPr>
            <a:xfrm>
              <a:off x="8501429" y="5895514"/>
              <a:ext cx="1386898" cy="194165"/>
            </a:xfrm>
            <a:custGeom>
              <a:avLst/>
              <a:gdLst>
                <a:gd name="connsiteX0" fmla="*/ 263896 w 274320"/>
                <a:gd name="connsiteY0" fmla="*/ 0 h 38404"/>
                <a:gd name="connsiteX1" fmla="*/ 9876 w 274320"/>
                <a:gd name="connsiteY1" fmla="*/ 0 h 38404"/>
                <a:gd name="connsiteX2" fmla="*/ 0 w 274320"/>
                <a:gd name="connsiteY2" fmla="*/ 10424 h 38404"/>
                <a:gd name="connsiteX3" fmla="*/ 0 w 274320"/>
                <a:gd name="connsiteY3" fmla="*/ 43343 h 38404"/>
                <a:gd name="connsiteX4" fmla="*/ 274320 w 274320"/>
                <a:gd name="connsiteY4" fmla="*/ 43343 h 38404"/>
                <a:gd name="connsiteX5" fmla="*/ 274320 w 274320"/>
                <a:gd name="connsiteY5" fmla="*/ 10424 h 38404"/>
                <a:gd name="connsiteX6" fmla="*/ 263896 w 274320"/>
                <a:gd name="connsiteY6" fmla="*/ 1646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38404">
                  <a:moveTo>
                    <a:pt x="263896" y="0"/>
                  </a:moveTo>
                  <a:lnTo>
                    <a:pt x="9876" y="0"/>
                  </a:lnTo>
                  <a:cubicBezTo>
                    <a:pt x="4389" y="0"/>
                    <a:pt x="0" y="4938"/>
                    <a:pt x="0" y="10424"/>
                  </a:cubicBezTo>
                  <a:lnTo>
                    <a:pt x="0" y="43343"/>
                  </a:lnTo>
                  <a:lnTo>
                    <a:pt x="274320" y="43343"/>
                  </a:lnTo>
                  <a:lnTo>
                    <a:pt x="274320" y="10424"/>
                  </a:lnTo>
                  <a:cubicBezTo>
                    <a:pt x="274320" y="4938"/>
                    <a:pt x="269931" y="1646"/>
                    <a:pt x="263896" y="1646"/>
                  </a:cubicBezTo>
                </a:path>
              </a:pathLst>
            </a:custGeom>
            <a:solidFill>
              <a:srgbClr val="7A7A7A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320D5694-9757-4155-9935-AAAD4422B8B1}"/>
                </a:ext>
              </a:extLst>
            </p:cNvPr>
            <p:cNvSpPr/>
            <p:nvPr/>
          </p:nvSpPr>
          <p:spPr>
            <a:xfrm>
              <a:off x="8584114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88B58927-3BD7-40FD-A555-5CE650FA3F00}"/>
                </a:ext>
              </a:extLst>
            </p:cNvPr>
            <p:cNvSpPr/>
            <p:nvPr/>
          </p:nvSpPr>
          <p:spPr>
            <a:xfrm>
              <a:off x="8584114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5A323113-3FA0-4034-955B-6E505EE4DCC0}"/>
                </a:ext>
              </a:extLst>
            </p:cNvPr>
            <p:cNvSpPr/>
            <p:nvPr/>
          </p:nvSpPr>
          <p:spPr>
            <a:xfrm>
              <a:off x="8584114" y="6480677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7DA6F335-8B2B-430F-9059-4F2BB70A19D0}"/>
                </a:ext>
              </a:extLst>
            </p:cNvPr>
            <p:cNvSpPr/>
            <p:nvPr/>
          </p:nvSpPr>
          <p:spPr>
            <a:xfrm>
              <a:off x="9008648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36FB2723-3067-4C76-B8FD-8409612C52D3}"/>
                </a:ext>
              </a:extLst>
            </p:cNvPr>
            <p:cNvSpPr/>
            <p:nvPr/>
          </p:nvSpPr>
          <p:spPr>
            <a:xfrm>
              <a:off x="9008648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62BB8BA2-6F06-48BD-B7AC-5FC11F000E5B}"/>
                </a:ext>
              </a:extLst>
            </p:cNvPr>
            <p:cNvSpPr/>
            <p:nvPr/>
          </p:nvSpPr>
          <p:spPr>
            <a:xfrm>
              <a:off x="9008648" y="6480677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5504FD0A-4962-43A6-A60C-09A58CF87432}"/>
                </a:ext>
              </a:extLst>
            </p:cNvPr>
            <p:cNvSpPr/>
            <p:nvPr/>
          </p:nvSpPr>
          <p:spPr>
            <a:xfrm>
              <a:off x="9433182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68295686-453F-48D8-A8ED-508B5920D141}"/>
                </a:ext>
              </a:extLst>
            </p:cNvPr>
            <p:cNvSpPr/>
            <p:nvPr/>
          </p:nvSpPr>
          <p:spPr>
            <a:xfrm>
              <a:off x="9433182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81434AD8-33D2-41AF-A9DA-EFA64496B1A2}"/>
                </a:ext>
              </a:extLst>
            </p:cNvPr>
            <p:cNvSpPr/>
            <p:nvPr/>
          </p:nvSpPr>
          <p:spPr>
            <a:xfrm>
              <a:off x="9433182" y="6480672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77" name="Group 876">
            <a:extLst>
              <a:ext uri="{FF2B5EF4-FFF2-40B4-BE49-F238E27FC236}">
                <a16:creationId xmlns:a16="http://schemas.microsoft.com/office/drawing/2014/main" id="{4CC2F43F-8632-407B-B49D-1DBA984FE409}"/>
              </a:ext>
            </a:extLst>
          </p:cNvPr>
          <p:cNvGrpSpPr/>
          <p:nvPr/>
        </p:nvGrpSpPr>
        <p:grpSpPr>
          <a:xfrm>
            <a:off x="6583858" y="880926"/>
            <a:ext cx="183392" cy="157350"/>
            <a:chOff x="8501429" y="5895514"/>
            <a:chExt cx="1386898" cy="1189960"/>
          </a:xfrm>
        </p:grpSpPr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29E06C35-55FA-41F6-AED1-97C151BFA64A}"/>
                </a:ext>
              </a:extLst>
            </p:cNvPr>
            <p:cNvSpPr/>
            <p:nvPr/>
          </p:nvSpPr>
          <p:spPr>
            <a:xfrm>
              <a:off x="8501429" y="6114648"/>
              <a:ext cx="1386898" cy="970826"/>
            </a:xfrm>
            <a:custGeom>
              <a:avLst/>
              <a:gdLst>
                <a:gd name="connsiteX0" fmla="*/ 0 w 274320"/>
                <a:gd name="connsiteY0" fmla="*/ 181600 h 192024"/>
                <a:gd name="connsiteX1" fmla="*/ 9876 w 274320"/>
                <a:gd name="connsiteY1" fmla="*/ 192024 h 192024"/>
                <a:gd name="connsiteX2" fmla="*/ 263896 w 274320"/>
                <a:gd name="connsiteY2" fmla="*/ 192024 h 192024"/>
                <a:gd name="connsiteX3" fmla="*/ 274320 w 274320"/>
                <a:gd name="connsiteY3" fmla="*/ 181600 h 192024"/>
                <a:gd name="connsiteX4" fmla="*/ 274320 w 274320"/>
                <a:gd name="connsiteY4" fmla="*/ 0 h 192024"/>
                <a:gd name="connsiteX5" fmla="*/ 0 w 274320"/>
                <a:gd name="connsiteY5" fmla="*/ 0 h 192024"/>
                <a:gd name="connsiteX6" fmla="*/ 0 w 274320"/>
                <a:gd name="connsiteY6" fmla="*/ 181600 h 19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192024">
                  <a:moveTo>
                    <a:pt x="0" y="181600"/>
                  </a:moveTo>
                  <a:cubicBezTo>
                    <a:pt x="0" y="187086"/>
                    <a:pt x="4389" y="192024"/>
                    <a:pt x="9876" y="192024"/>
                  </a:cubicBezTo>
                  <a:lnTo>
                    <a:pt x="263896" y="192024"/>
                  </a:lnTo>
                  <a:cubicBezTo>
                    <a:pt x="269382" y="192024"/>
                    <a:pt x="274320" y="187635"/>
                    <a:pt x="274320" y="181600"/>
                  </a:cubicBezTo>
                  <a:lnTo>
                    <a:pt x="274320" y="0"/>
                  </a:lnTo>
                  <a:lnTo>
                    <a:pt x="0" y="0"/>
                  </a:lnTo>
                  <a:lnTo>
                    <a:pt x="0" y="181600"/>
                  </a:lnTo>
                  <a:close/>
                </a:path>
              </a:pathLst>
            </a:custGeom>
            <a:solidFill>
              <a:srgbClr val="B3B4B5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5D618BCE-51E4-493D-98DA-42328C443170}"/>
                </a:ext>
              </a:extLst>
            </p:cNvPr>
            <p:cNvSpPr/>
            <p:nvPr/>
          </p:nvSpPr>
          <p:spPr>
            <a:xfrm>
              <a:off x="8501429" y="5895514"/>
              <a:ext cx="1386898" cy="194165"/>
            </a:xfrm>
            <a:custGeom>
              <a:avLst/>
              <a:gdLst>
                <a:gd name="connsiteX0" fmla="*/ 263896 w 274320"/>
                <a:gd name="connsiteY0" fmla="*/ 0 h 38404"/>
                <a:gd name="connsiteX1" fmla="*/ 9876 w 274320"/>
                <a:gd name="connsiteY1" fmla="*/ 0 h 38404"/>
                <a:gd name="connsiteX2" fmla="*/ 0 w 274320"/>
                <a:gd name="connsiteY2" fmla="*/ 10424 h 38404"/>
                <a:gd name="connsiteX3" fmla="*/ 0 w 274320"/>
                <a:gd name="connsiteY3" fmla="*/ 43343 h 38404"/>
                <a:gd name="connsiteX4" fmla="*/ 274320 w 274320"/>
                <a:gd name="connsiteY4" fmla="*/ 43343 h 38404"/>
                <a:gd name="connsiteX5" fmla="*/ 274320 w 274320"/>
                <a:gd name="connsiteY5" fmla="*/ 10424 h 38404"/>
                <a:gd name="connsiteX6" fmla="*/ 263896 w 274320"/>
                <a:gd name="connsiteY6" fmla="*/ 1646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320" h="38404">
                  <a:moveTo>
                    <a:pt x="263896" y="0"/>
                  </a:moveTo>
                  <a:lnTo>
                    <a:pt x="9876" y="0"/>
                  </a:lnTo>
                  <a:cubicBezTo>
                    <a:pt x="4389" y="0"/>
                    <a:pt x="0" y="4938"/>
                    <a:pt x="0" y="10424"/>
                  </a:cubicBezTo>
                  <a:lnTo>
                    <a:pt x="0" y="43343"/>
                  </a:lnTo>
                  <a:lnTo>
                    <a:pt x="274320" y="43343"/>
                  </a:lnTo>
                  <a:lnTo>
                    <a:pt x="274320" y="10424"/>
                  </a:lnTo>
                  <a:cubicBezTo>
                    <a:pt x="274320" y="4938"/>
                    <a:pt x="269931" y="1646"/>
                    <a:pt x="263896" y="1646"/>
                  </a:cubicBezTo>
                </a:path>
              </a:pathLst>
            </a:custGeom>
            <a:solidFill>
              <a:srgbClr val="7A7A7A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C172F4C8-09F4-437B-AF5F-848AEA7EE5F5}"/>
                </a:ext>
              </a:extLst>
            </p:cNvPr>
            <p:cNvSpPr/>
            <p:nvPr/>
          </p:nvSpPr>
          <p:spPr>
            <a:xfrm>
              <a:off x="8584114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4452B190-6DDE-4507-A2B9-BB42C7AC16F8}"/>
                </a:ext>
              </a:extLst>
            </p:cNvPr>
            <p:cNvSpPr/>
            <p:nvPr/>
          </p:nvSpPr>
          <p:spPr>
            <a:xfrm>
              <a:off x="8584114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6429E690-1EF9-44C9-A2D8-DF33DC65037A}"/>
                </a:ext>
              </a:extLst>
            </p:cNvPr>
            <p:cNvSpPr/>
            <p:nvPr/>
          </p:nvSpPr>
          <p:spPr>
            <a:xfrm>
              <a:off x="8584114" y="6480677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E5015A-65E4-440A-ADE4-5875A761D35D}"/>
                </a:ext>
              </a:extLst>
            </p:cNvPr>
            <p:cNvSpPr/>
            <p:nvPr/>
          </p:nvSpPr>
          <p:spPr>
            <a:xfrm>
              <a:off x="9008648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B5A0B646-E920-49F3-B79B-1A06C24972BB}"/>
                </a:ext>
              </a:extLst>
            </p:cNvPr>
            <p:cNvSpPr/>
            <p:nvPr/>
          </p:nvSpPr>
          <p:spPr>
            <a:xfrm>
              <a:off x="9008648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F7C828E3-379E-41F1-BC08-EE75E971A17F}"/>
                </a:ext>
              </a:extLst>
            </p:cNvPr>
            <p:cNvSpPr/>
            <p:nvPr/>
          </p:nvSpPr>
          <p:spPr>
            <a:xfrm>
              <a:off x="9008648" y="6480677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D111D618-039C-448D-8239-C253686AB7B7}"/>
                </a:ext>
              </a:extLst>
            </p:cNvPr>
            <p:cNvSpPr/>
            <p:nvPr/>
          </p:nvSpPr>
          <p:spPr>
            <a:xfrm>
              <a:off x="9433182" y="6773394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2C338EF8-9E55-46E9-BF91-DF241B886B26}"/>
                </a:ext>
              </a:extLst>
            </p:cNvPr>
            <p:cNvSpPr/>
            <p:nvPr/>
          </p:nvSpPr>
          <p:spPr>
            <a:xfrm>
              <a:off x="9433182" y="6187949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FFFFF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DCC964F3-DC53-429C-8E01-B80B45FBFE80}"/>
                </a:ext>
              </a:extLst>
            </p:cNvPr>
            <p:cNvSpPr/>
            <p:nvPr/>
          </p:nvSpPr>
          <p:spPr>
            <a:xfrm>
              <a:off x="9433182" y="6480672"/>
              <a:ext cx="372460" cy="238780"/>
            </a:xfrm>
            <a:custGeom>
              <a:avLst/>
              <a:gdLst>
                <a:gd name="connsiteX0" fmla="*/ 0 w 230428"/>
                <a:gd name="connsiteY0" fmla="*/ 0 h 38404"/>
                <a:gd name="connsiteX1" fmla="*/ 230429 w 230428"/>
                <a:gd name="connsiteY1" fmla="*/ 0 h 38404"/>
                <a:gd name="connsiteX2" fmla="*/ 230429 w 230428"/>
                <a:gd name="connsiteY2" fmla="*/ 38405 h 38404"/>
                <a:gd name="connsiteX3" fmla="*/ 0 w 230428"/>
                <a:gd name="connsiteY3" fmla="*/ 38405 h 3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428" h="38404">
                  <a:moveTo>
                    <a:pt x="0" y="0"/>
                  </a:moveTo>
                  <a:lnTo>
                    <a:pt x="230429" y="0"/>
                  </a:lnTo>
                  <a:lnTo>
                    <a:pt x="230429" y="38405"/>
                  </a:lnTo>
                  <a:lnTo>
                    <a:pt x="0" y="38405"/>
                  </a:lnTo>
                  <a:close/>
                </a:path>
              </a:pathLst>
            </a:custGeom>
            <a:solidFill>
              <a:srgbClr val="FCD116"/>
            </a:solidFill>
            <a:ln w="5334" cap="flat">
              <a:noFill/>
              <a:prstDash val="solid"/>
              <a:miter/>
            </a:ln>
          </p:spPr>
          <p:txBody>
            <a:bodyPr wrap="square" rtlCol="0" anchor="ctr"/>
            <a:lstStyle/>
            <a:p>
              <a:pPr marL="0" marR="0" lvl="0" indent="0" algn="l" defTabSz="9141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889" name="Picture 888">
            <a:extLst>
              <a:ext uri="{FF2B5EF4-FFF2-40B4-BE49-F238E27FC236}">
                <a16:creationId xmlns:a16="http://schemas.microsoft.com/office/drawing/2014/main" id="{C47E77E5-4BEE-4076-8910-29DCC1DC6348}"/>
              </a:ext>
            </a:extLst>
          </p:cNvPr>
          <p:cNvPicPr>
            <a:picLocks noChangeAspect="1"/>
          </p:cNvPicPr>
          <p:nvPr/>
        </p:nvPicPr>
        <p:blipFill>
          <a:blip r:embed="rId110"/>
          <a:stretch>
            <a:fillRect/>
          </a:stretch>
        </p:blipFill>
        <p:spPr>
          <a:xfrm>
            <a:off x="5831491" y="873709"/>
            <a:ext cx="171785" cy="171783"/>
          </a:xfrm>
          <a:prstGeom prst="rect">
            <a:avLst/>
          </a:prstGeom>
        </p:spPr>
      </p:pic>
      <p:pic>
        <p:nvPicPr>
          <p:cNvPr id="890" name="Graphic 889">
            <a:extLst>
              <a:ext uri="{FF2B5EF4-FFF2-40B4-BE49-F238E27FC236}">
                <a16:creationId xmlns:a16="http://schemas.microsoft.com/office/drawing/2014/main" id="{2D01A9FA-3149-4B8D-9DF8-C82D2E923BA6}"/>
              </a:ext>
            </a:extLst>
          </p:cNvPr>
          <p:cNvPicPr>
            <a:picLocks noChangeAspect="1"/>
          </p:cNvPicPr>
          <p:nvPr/>
        </p:nvPicPr>
        <p:blipFill>
          <a:blip r:embed="rId111">
            <a:extLs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1411706" y="875496"/>
            <a:ext cx="168209" cy="168209"/>
          </a:xfrm>
          <a:prstGeom prst="rect">
            <a:avLst/>
          </a:prstGeom>
        </p:spPr>
      </p:pic>
      <p:pic>
        <p:nvPicPr>
          <p:cNvPr id="891" name="Picture 890" descr=" Data Box">
            <a:extLst>
              <a:ext uri="{FF2B5EF4-FFF2-40B4-BE49-F238E27FC236}">
                <a16:creationId xmlns:a16="http://schemas.microsoft.com/office/drawing/2014/main" id="{B6615DD4-AF75-46C8-A301-C5F67BE0B001}"/>
              </a:ext>
            </a:extLst>
          </p:cNvPr>
          <p:cNvPicPr>
            <a:picLocks noChangeAspect="1"/>
          </p:cNvPicPr>
          <p:nvPr/>
        </p:nvPicPr>
        <p:blipFill>
          <a:blip r:embed="rId113"/>
          <a:stretch>
            <a:fillRect/>
          </a:stretch>
        </p:blipFill>
        <p:spPr>
          <a:xfrm>
            <a:off x="5511101" y="876278"/>
            <a:ext cx="166591" cy="166646"/>
          </a:xfrm>
          <a:prstGeom prst="rect">
            <a:avLst/>
          </a:prstGeom>
        </p:spPr>
      </p:pic>
      <p:pic>
        <p:nvPicPr>
          <p:cNvPr id="892" name="Graphic 891">
            <a:extLst>
              <a:ext uri="{FF2B5EF4-FFF2-40B4-BE49-F238E27FC236}">
                <a16:creationId xmlns:a16="http://schemas.microsoft.com/office/drawing/2014/main" id="{971C90D3-4B03-4350-93C7-E40B2E7611B4}"/>
              </a:ext>
            </a:extLst>
          </p:cNvPr>
          <p:cNvPicPr>
            <a:picLocks noChangeAspect="1"/>
          </p:cNvPicPr>
          <p:nvPr/>
        </p:nvPicPr>
        <p:blipFill>
          <a:blip r:embed="rId114">
            <a:extLst>
              <a:ext uri="{96DAC541-7B7A-43D3-8B79-37D633B846F1}">
                <asvg:svgBlip xmlns:asvg="http://schemas.microsoft.com/office/drawing/2016/SVG/main" r:embed="rId115"/>
              </a:ext>
            </a:extLst>
          </a:blip>
          <a:stretch>
            <a:fillRect/>
          </a:stretch>
        </p:blipFill>
        <p:spPr>
          <a:xfrm>
            <a:off x="8279225" y="880729"/>
            <a:ext cx="185916" cy="185914"/>
          </a:xfrm>
          <a:prstGeom prst="rect">
            <a:avLst/>
          </a:prstGeom>
        </p:spPr>
      </p:pic>
      <p:pic>
        <p:nvPicPr>
          <p:cNvPr id="893" name="Graphic 892">
            <a:extLst>
              <a:ext uri="{FF2B5EF4-FFF2-40B4-BE49-F238E27FC236}">
                <a16:creationId xmlns:a16="http://schemas.microsoft.com/office/drawing/2014/main" id="{883EF277-1B50-4995-BAB2-CED5720174CA}"/>
              </a:ext>
            </a:extLst>
          </p:cNvPr>
          <p:cNvPicPr>
            <a:picLocks noChangeAspect="1"/>
          </p:cNvPicPr>
          <p:nvPr/>
        </p:nvPicPr>
        <p:blipFill>
          <a:blip r:embed="rId116">
            <a:extLst>
              <a:ext uri="{96DAC541-7B7A-43D3-8B79-37D633B846F1}">
                <asvg:svgBlip xmlns:asvg="http://schemas.microsoft.com/office/drawing/2016/SVG/main" r:embed="rId117"/>
              </a:ext>
            </a:extLst>
          </a:blip>
          <a:stretch>
            <a:fillRect/>
          </a:stretch>
        </p:blipFill>
        <p:spPr>
          <a:xfrm>
            <a:off x="10858521" y="880729"/>
            <a:ext cx="185916" cy="185914"/>
          </a:xfrm>
          <a:prstGeom prst="rect">
            <a:avLst/>
          </a:prstGeom>
        </p:spPr>
      </p:pic>
      <p:pic>
        <p:nvPicPr>
          <p:cNvPr id="894" name="Graphic 893">
            <a:extLst>
              <a:ext uri="{FF2B5EF4-FFF2-40B4-BE49-F238E27FC236}">
                <a16:creationId xmlns:a16="http://schemas.microsoft.com/office/drawing/2014/main" id="{87F3BD65-ADFA-4F19-8783-C718EA73036A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10323201" y="880729"/>
            <a:ext cx="185916" cy="185914"/>
          </a:xfrm>
          <a:prstGeom prst="rect">
            <a:avLst/>
          </a:prstGeom>
        </p:spPr>
      </p:pic>
      <p:pic>
        <p:nvPicPr>
          <p:cNvPr id="895" name="Graphic 894">
            <a:extLst>
              <a:ext uri="{FF2B5EF4-FFF2-40B4-BE49-F238E27FC236}">
                <a16:creationId xmlns:a16="http://schemas.microsoft.com/office/drawing/2014/main" id="{9888EC09-460D-4327-9A46-17714960FC1D}"/>
              </a:ext>
            </a:extLst>
          </p:cNvPr>
          <p:cNvPicPr>
            <a:picLocks noChangeAspect="1"/>
          </p:cNvPicPr>
          <p:nvPr/>
        </p:nvPicPr>
        <p:blipFill>
          <a:blip r:embed="rId120">
            <a:extLst>
              <a:ext uri="{96DAC541-7B7A-43D3-8B79-37D633B846F1}">
                <asvg:svgBlip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11834260" y="880729"/>
            <a:ext cx="185916" cy="185914"/>
          </a:xfrm>
          <a:prstGeom prst="rect">
            <a:avLst/>
          </a:prstGeom>
        </p:spPr>
      </p:pic>
      <p:pic>
        <p:nvPicPr>
          <p:cNvPr id="896" name="Graphic 895">
            <a:extLst>
              <a:ext uri="{FF2B5EF4-FFF2-40B4-BE49-F238E27FC236}">
                <a16:creationId xmlns:a16="http://schemas.microsoft.com/office/drawing/2014/main" id="{818C7EBC-FA1C-4B41-AB81-B5BDDA9A7FBC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96DAC541-7B7A-43D3-8B79-37D633B846F1}">
                <asvg:svgBlip xmlns:asvg="http://schemas.microsoft.com/office/drawing/2016/SVG/main" r:embed="rId123"/>
              </a:ext>
            </a:extLst>
          </a:blip>
          <a:stretch>
            <a:fillRect/>
          </a:stretch>
        </p:blipFill>
        <p:spPr>
          <a:xfrm>
            <a:off x="9608507" y="853237"/>
            <a:ext cx="240899" cy="240898"/>
          </a:xfrm>
          <a:prstGeom prst="rect">
            <a:avLst/>
          </a:prstGeom>
        </p:spPr>
      </p:pic>
      <p:pic>
        <p:nvPicPr>
          <p:cNvPr id="897" name="Graphic 896">
            <a:extLst>
              <a:ext uri="{FF2B5EF4-FFF2-40B4-BE49-F238E27FC236}">
                <a16:creationId xmlns:a16="http://schemas.microsoft.com/office/drawing/2014/main" id="{7CC1159E-962D-4294-9428-D2E845D4EB1A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96DAC541-7B7A-43D3-8B79-37D633B846F1}">
                <asvg:svgBlip xmlns:asvg="http://schemas.microsoft.com/office/drawing/2016/SVG/main" r:embed="rId125"/>
              </a:ext>
            </a:extLst>
          </a:blip>
          <a:stretch>
            <a:fillRect/>
          </a:stretch>
        </p:blipFill>
        <p:spPr>
          <a:xfrm>
            <a:off x="8935173" y="880729"/>
            <a:ext cx="185916" cy="185914"/>
          </a:xfrm>
          <a:prstGeom prst="rect">
            <a:avLst/>
          </a:prstGeom>
        </p:spPr>
      </p:pic>
      <p:pic>
        <p:nvPicPr>
          <p:cNvPr id="898" name="Picture 897" descr="App Service API">
            <a:extLst>
              <a:ext uri="{FF2B5EF4-FFF2-40B4-BE49-F238E27FC236}">
                <a16:creationId xmlns:a16="http://schemas.microsoft.com/office/drawing/2014/main" id="{31702F83-3BDE-452C-A31C-0FD51080ABB6}"/>
              </a:ext>
            </a:extLst>
          </p:cNvPr>
          <p:cNvPicPr>
            <a:picLocks noChangeAspect="1"/>
          </p:cNvPicPr>
          <p:nvPr/>
        </p:nvPicPr>
        <p:blipFill>
          <a:blip r:embed="rId126"/>
          <a:stretch>
            <a:fillRect/>
          </a:stretch>
        </p:blipFill>
        <p:spPr>
          <a:xfrm>
            <a:off x="11297380" y="895034"/>
            <a:ext cx="185916" cy="157304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052D459B-3BD6-4FDF-B4A9-7B4F11F693A1}"/>
              </a:ext>
            </a:extLst>
          </p:cNvPr>
          <p:cNvGrpSpPr/>
          <p:nvPr/>
        </p:nvGrpSpPr>
        <p:grpSpPr>
          <a:xfrm>
            <a:off x="6589512" y="317166"/>
            <a:ext cx="365708" cy="383006"/>
            <a:chOff x="6609777" y="317166"/>
            <a:chExt cx="365708" cy="383006"/>
          </a:xfrm>
        </p:grpSpPr>
        <p:sp>
          <p:nvSpPr>
            <p:cNvPr id="683" name="TextBox 682">
              <a:extLst>
                <a:ext uri="{FF2B5EF4-FFF2-40B4-BE49-F238E27FC236}">
                  <a16:creationId xmlns:a16="http://schemas.microsoft.com/office/drawing/2014/main" id="{7FAB0BCD-38FA-44C2-B755-4F6526CD8177}"/>
                </a:ext>
              </a:extLst>
            </p:cNvPr>
            <p:cNvSpPr txBox="1"/>
            <p:nvPr/>
          </p:nvSpPr>
          <p:spPr>
            <a:xfrm>
              <a:off x="6609777" y="492423"/>
              <a:ext cx="36570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ent Delivery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Network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906" name="Group 905">
              <a:extLst>
                <a:ext uri="{FF2B5EF4-FFF2-40B4-BE49-F238E27FC236}">
                  <a16:creationId xmlns:a16="http://schemas.microsoft.com/office/drawing/2014/main" id="{5355634D-EDAE-473B-83FB-0EA4A1262F57}"/>
                </a:ext>
              </a:extLst>
            </p:cNvPr>
            <p:cNvGrpSpPr/>
            <p:nvPr/>
          </p:nvGrpSpPr>
          <p:grpSpPr>
            <a:xfrm>
              <a:off x="6641268" y="317166"/>
              <a:ext cx="302727" cy="138872"/>
              <a:chOff x="7822872" y="-75899"/>
              <a:chExt cx="246679" cy="113163"/>
            </a:xfrm>
          </p:grpSpPr>
          <p:sp>
            <p:nvSpPr>
              <p:cNvPr id="901" name="Freeform: Shape 900">
                <a:extLst>
                  <a:ext uri="{FF2B5EF4-FFF2-40B4-BE49-F238E27FC236}">
                    <a16:creationId xmlns:a16="http://schemas.microsoft.com/office/drawing/2014/main" id="{B503CE8B-F7DB-4A6A-83F7-3C1B8C9E55A5}"/>
                  </a:ext>
                </a:extLst>
              </p:cNvPr>
              <p:cNvSpPr/>
              <p:nvPr/>
            </p:nvSpPr>
            <p:spPr>
              <a:xfrm>
                <a:off x="7854141" y="-65477"/>
                <a:ext cx="148901" cy="14890"/>
              </a:xfrm>
              <a:custGeom>
                <a:avLst/>
                <a:gdLst>
                  <a:gd name="connsiteX0" fmla="*/ 141952 w 148900"/>
                  <a:gd name="connsiteY0" fmla="*/ 19853 h 14889"/>
                  <a:gd name="connsiteX1" fmla="*/ 9927 w 148900"/>
                  <a:gd name="connsiteY1" fmla="*/ 19853 h 14889"/>
                  <a:gd name="connsiteX2" fmla="*/ 0 w 148900"/>
                  <a:gd name="connsiteY2" fmla="*/ 9927 h 14889"/>
                  <a:gd name="connsiteX3" fmla="*/ 0 w 148900"/>
                  <a:gd name="connsiteY3" fmla="*/ 9927 h 14889"/>
                  <a:gd name="connsiteX4" fmla="*/ 9927 w 148900"/>
                  <a:gd name="connsiteY4" fmla="*/ 0 h 14889"/>
                  <a:gd name="connsiteX5" fmla="*/ 141952 w 148900"/>
                  <a:gd name="connsiteY5" fmla="*/ 0 h 14889"/>
                  <a:gd name="connsiteX6" fmla="*/ 151879 w 148900"/>
                  <a:gd name="connsiteY6" fmla="*/ 9927 h 14889"/>
                  <a:gd name="connsiteX7" fmla="*/ 151879 w 148900"/>
                  <a:gd name="connsiteY7" fmla="*/ 9927 h 14889"/>
                  <a:gd name="connsiteX8" fmla="*/ 141952 w 148900"/>
                  <a:gd name="connsiteY8" fmla="*/ 19853 h 1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8900" h="14889">
                    <a:moveTo>
                      <a:pt x="141952" y="19853"/>
                    </a:moveTo>
                    <a:lnTo>
                      <a:pt x="9927" y="19853"/>
                    </a:lnTo>
                    <a:cubicBezTo>
                      <a:pt x="4467" y="19853"/>
                      <a:pt x="0" y="15386"/>
                      <a:pt x="0" y="9927"/>
                    </a:cubicBezTo>
                    <a:lnTo>
                      <a:pt x="0" y="9927"/>
                    </a:lnTo>
                    <a:cubicBezTo>
                      <a:pt x="0" y="4467"/>
                      <a:pt x="4467" y="0"/>
                      <a:pt x="9927" y="0"/>
                    </a:cubicBezTo>
                    <a:lnTo>
                      <a:pt x="141952" y="0"/>
                    </a:lnTo>
                    <a:cubicBezTo>
                      <a:pt x="147412" y="0"/>
                      <a:pt x="151879" y="4467"/>
                      <a:pt x="151879" y="9927"/>
                    </a:cubicBezTo>
                    <a:lnTo>
                      <a:pt x="151879" y="9927"/>
                    </a:lnTo>
                    <a:cubicBezTo>
                      <a:pt x="151879" y="15386"/>
                      <a:pt x="147412" y="19853"/>
                      <a:pt x="141952" y="19853"/>
                    </a:cubicBezTo>
                    <a:close/>
                  </a:path>
                </a:pathLst>
              </a:custGeom>
              <a:solidFill>
                <a:srgbClr val="7A7A7A"/>
              </a:solidFill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2" name="Freeform: Shape 901">
                <a:extLst>
                  <a:ext uri="{FF2B5EF4-FFF2-40B4-BE49-F238E27FC236}">
                    <a16:creationId xmlns:a16="http://schemas.microsoft.com/office/drawing/2014/main" id="{DD52E7B4-55F2-4300-AD53-27DF5B1AAE7A}"/>
                  </a:ext>
                </a:extLst>
              </p:cNvPr>
              <p:cNvSpPr/>
              <p:nvPr/>
            </p:nvSpPr>
            <p:spPr>
              <a:xfrm>
                <a:off x="7837266" y="17411"/>
                <a:ext cx="138974" cy="19853"/>
              </a:xfrm>
              <a:custGeom>
                <a:avLst/>
                <a:gdLst>
                  <a:gd name="connsiteX0" fmla="*/ 132025 w 138974"/>
                  <a:gd name="connsiteY0" fmla="*/ 19853 h 19853"/>
                  <a:gd name="connsiteX1" fmla="*/ 9927 w 138974"/>
                  <a:gd name="connsiteY1" fmla="*/ 19853 h 19853"/>
                  <a:gd name="connsiteX2" fmla="*/ 0 w 138974"/>
                  <a:gd name="connsiteY2" fmla="*/ 9927 h 19853"/>
                  <a:gd name="connsiteX3" fmla="*/ 0 w 138974"/>
                  <a:gd name="connsiteY3" fmla="*/ 9927 h 19853"/>
                  <a:gd name="connsiteX4" fmla="*/ 9927 w 138974"/>
                  <a:gd name="connsiteY4" fmla="*/ 0 h 19853"/>
                  <a:gd name="connsiteX5" fmla="*/ 132025 w 138974"/>
                  <a:gd name="connsiteY5" fmla="*/ 0 h 19853"/>
                  <a:gd name="connsiteX6" fmla="*/ 141952 w 138974"/>
                  <a:gd name="connsiteY6" fmla="*/ 9927 h 19853"/>
                  <a:gd name="connsiteX7" fmla="*/ 141952 w 138974"/>
                  <a:gd name="connsiteY7" fmla="*/ 9927 h 19853"/>
                  <a:gd name="connsiteX8" fmla="*/ 132025 w 138974"/>
                  <a:gd name="connsiteY8" fmla="*/ 19853 h 19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974" h="19853">
                    <a:moveTo>
                      <a:pt x="132025" y="19853"/>
                    </a:moveTo>
                    <a:lnTo>
                      <a:pt x="9927" y="19853"/>
                    </a:lnTo>
                    <a:cubicBezTo>
                      <a:pt x="4467" y="19853"/>
                      <a:pt x="0" y="15386"/>
                      <a:pt x="0" y="9927"/>
                    </a:cubicBezTo>
                    <a:lnTo>
                      <a:pt x="0" y="9927"/>
                    </a:lnTo>
                    <a:cubicBezTo>
                      <a:pt x="0" y="4467"/>
                      <a:pt x="4467" y="0"/>
                      <a:pt x="9927" y="0"/>
                    </a:cubicBezTo>
                    <a:lnTo>
                      <a:pt x="132025" y="0"/>
                    </a:lnTo>
                    <a:cubicBezTo>
                      <a:pt x="137485" y="0"/>
                      <a:pt x="141952" y="4467"/>
                      <a:pt x="141952" y="9927"/>
                    </a:cubicBezTo>
                    <a:lnTo>
                      <a:pt x="141952" y="9927"/>
                    </a:lnTo>
                    <a:cubicBezTo>
                      <a:pt x="141952" y="15386"/>
                      <a:pt x="137485" y="19853"/>
                      <a:pt x="132025" y="19853"/>
                    </a:cubicBezTo>
                    <a:close/>
                  </a:path>
                </a:pathLst>
              </a:custGeom>
              <a:solidFill>
                <a:srgbClr val="7A7A7A"/>
              </a:solidFill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3" name="Freeform: Shape 902">
                <a:extLst>
                  <a:ext uri="{FF2B5EF4-FFF2-40B4-BE49-F238E27FC236}">
                    <a16:creationId xmlns:a16="http://schemas.microsoft.com/office/drawing/2014/main" id="{7FC8ED4D-830D-4564-A50C-A9BB70BD965E}"/>
                  </a:ext>
                </a:extLst>
              </p:cNvPr>
              <p:cNvSpPr/>
              <p:nvPr/>
            </p:nvSpPr>
            <p:spPr>
              <a:xfrm>
                <a:off x="7822872" y="-22792"/>
                <a:ext cx="138974" cy="19853"/>
              </a:xfrm>
              <a:custGeom>
                <a:avLst/>
                <a:gdLst>
                  <a:gd name="connsiteX0" fmla="*/ 132025 w 138974"/>
                  <a:gd name="connsiteY0" fmla="*/ 19853 h 19853"/>
                  <a:gd name="connsiteX1" fmla="*/ 9927 w 138974"/>
                  <a:gd name="connsiteY1" fmla="*/ 19853 h 19853"/>
                  <a:gd name="connsiteX2" fmla="*/ 0 w 138974"/>
                  <a:gd name="connsiteY2" fmla="*/ 9927 h 19853"/>
                  <a:gd name="connsiteX3" fmla="*/ 0 w 138974"/>
                  <a:gd name="connsiteY3" fmla="*/ 9927 h 19853"/>
                  <a:gd name="connsiteX4" fmla="*/ 9927 w 138974"/>
                  <a:gd name="connsiteY4" fmla="*/ 0 h 19853"/>
                  <a:gd name="connsiteX5" fmla="*/ 132025 w 138974"/>
                  <a:gd name="connsiteY5" fmla="*/ 0 h 19853"/>
                  <a:gd name="connsiteX6" fmla="*/ 141952 w 138974"/>
                  <a:gd name="connsiteY6" fmla="*/ 9927 h 19853"/>
                  <a:gd name="connsiteX7" fmla="*/ 141952 w 138974"/>
                  <a:gd name="connsiteY7" fmla="*/ 9927 h 19853"/>
                  <a:gd name="connsiteX8" fmla="*/ 132025 w 138974"/>
                  <a:gd name="connsiteY8" fmla="*/ 19853 h 19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974" h="19853">
                    <a:moveTo>
                      <a:pt x="132025" y="19853"/>
                    </a:moveTo>
                    <a:lnTo>
                      <a:pt x="9927" y="19853"/>
                    </a:lnTo>
                    <a:cubicBezTo>
                      <a:pt x="4467" y="19853"/>
                      <a:pt x="0" y="15386"/>
                      <a:pt x="0" y="9927"/>
                    </a:cubicBezTo>
                    <a:lnTo>
                      <a:pt x="0" y="9927"/>
                    </a:lnTo>
                    <a:cubicBezTo>
                      <a:pt x="0" y="4467"/>
                      <a:pt x="4467" y="0"/>
                      <a:pt x="9927" y="0"/>
                    </a:cubicBezTo>
                    <a:lnTo>
                      <a:pt x="132025" y="0"/>
                    </a:lnTo>
                    <a:cubicBezTo>
                      <a:pt x="137485" y="0"/>
                      <a:pt x="141952" y="4467"/>
                      <a:pt x="141952" y="9927"/>
                    </a:cubicBezTo>
                    <a:lnTo>
                      <a:pt x="141952" y="9927"/>
                    </a:lnTo>
                    <a:cubicBezTo>
                      <a:pt x="141952" y="15386"/>
                      <a:pt x="137485" y="19853"/>
                      <a:pt x="132025" y="19853"/>
                    </a:cubicBezTo>
                    <a:close/>
                  </a:path>
                </a:pathLst>
              </a:custGeom>
              <a:solidFill>
                <a:srgbClr val="7A7A7A"/>
              </a:solidFill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4" name="Freeform: Shape 903">
                <a:extLst>
                  <a:ext uri="{FF2B5EF4-FFF2-40B4-BE49-F238E27FC236}">
                    <a16:creationId xmlns:a16="http://schemas.microsoft.com/office/drawing/2014/main" id="{C7FEF2DF-3D12-4338-A95B-249C5AC2DF37}"/>
                  </a:ext>
                </a:extLst>
              </p:cNvPr>
              <p:cNvSpPr/>
              <p:nvPr/>
            </p:nvSpPr>
            <p:spPr>
              <a:xfrm>
                <a:off x="7890870" y="-75899"/>
                <a:ext cx="178681" cy="109193"/>
              </a:xfrm>
              <a:custGeom>
                <a:avLst/>
                <a:gdLst>
                  <a:gd name="connsiteX0" fmla="*/ 180170 w 178680"/>
                  <a:gd name="connsiteY0" fmla="*/ 91821 h 109193"/>
                  <a:gd name="connsiteX1" fmla="*/ 159324 w 178680"/>
                  <a:gd name="connsiteY1" fmla="*/ 70479 h 109193"/>
                  <a:gd name="connsiteX2" fmla="*/ 156346 w 178680"/>
                  <a:gd name="connsiteY2" fmla="*/ 70479 h 109193"/>
                  <a:gd name="connsiteX3" fmla="*/ 158331 w 178680"/>
                  <a:gd name="connsiteY3" fmla="*/ 55589 h 109193"/>
                  <a:gd name="connsiteX4" fmla="*/ 102742 w 178680"/>
                  <a:gd name="connsiteY4" fmla="*/ 0 h 109193"/>
                  <a:gd name="connsiteX5" fmla="*/ 50130 w 178680"/>
                  <a:gd name="connsiteY5" fmla="*/ 37721 h 109193"/>
                  <a:gd name="connsiteX6" fmla="*/ 37722 w 178680"/>
                  <a:gd name="connsiteY6" fmla="*/ 35736 h 109193"/>
                  <a:gd name="connsiteX7" fmla="*/ 0 w 178680"/>
                  <a:gd name="connsiteY7" fmla="*/ 74450 h 109193"/>
                  <a:gd name="connsiteX8" fmla="*/ 37722 w 178680"/>
                  <a:gd name="connsiteY8" fmla="*/ 113164 h 109193"/>
                  <a:gd name="connsiteX9" fmla="*/ 37722 w 178680"/>
                  <a:gd name="connsiteY9" fmla="*/ 113164 h 109193"/>
                  <a:gd name="connsiteX10" fmla="*/ 37722 w 178680"/>
                  <a:gd name="connsiteY10" fmla="*/ 113164 h 109193"/>
                  <a:gd name="connsiteX11" fmla="*/ 160317 w 178680"/>
                  <a:gd name="connsiteY11" fmla="*/ 113164 h 109193"/>
                  <a:gd name="connsiteX12" fmla="*/ 160317 w 178680"/>
                  <a:gd name="connsiteY12" fmla="*/ 113164 h 109193"/>
                  <a:gd name="connsiteX13" fmla="*/ 180170 w 178680"/>
                  <a:gd name="connsiteY13" fmla="*/ 91821 h 10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8680" h="109193">
                    <a:moveTo>
                      <a:pt x="180170" y="91821"/>
                    </a:moveTo>
                    <a:cubicBezTo>
                      <a:pt x="180170" y="79909"/>
                      <a:pt x="170740" y="70479"/>
                      <a:pt x="159324" y="70479"/>
                    </a:cubicBezTo>
                    <a:cubicBezTo>
                      <a:pt x="158331" y="70479"/>
                      <a:pt x="157835" y="70479"/>
                      <a:pt x="156346" y="70479"/>
                    </a:cubicBezTo>
                    <a:cubicBezTo>
                      <a:pt x="157339" y="66012"/>
                      <a:pt x="158331" y="61049"/>
                      <a:pt x="158331" y="55589"/>
                    </a:cubicBezTo>
                    <a:cubicBezTo>
                      <a:pt x="158331" y="24817"/>
                      <a:pt x="133018" y="0"/>
                      <a:pt x="102742" y="0"/>
                    </a:cubicBezTo>
                    <a:cubicBezTo>
                      <a:pt x="78421" y="0"/>
                      <a:pt x="57575" y="16379"/>
                      <a:pt x="50130" y="37721"/>
                    </a:cubicBezTo>
                    <a:cubicBezTo>
                      <a:pt x="46159" y="36729"/>
                      <a:pt x="42189" y="35736"/>
                      <a:pt x="37722" y="35736"/>
                    </a:cubicBezTo>
                    <a:cubicBezTo>
                      <a:pt x="16379" y="35736"/>
                      <a:pt x="0" y="53108"/>
                      <a:pt x="0" y="74450"/>
                    </a:cubicBezTo>
                    <a:cubicBezTo>
                      <a:pt x="0" y="95792"/>
                      <a:pt x="16875" y="113164"/>
                      <a:pt x="37722" y="113164"/>
                    </a:cubicBezTo>
                    <a:lnTo>
                      <a:pt x="37722" y="113164"/>
                    </a:lnTo>
                    <a:lnTo>
                      <a:pt x="37722" y="113164"/>
                    </a:lnTo>
                    <a:lnTo>
                      <a:pt x="160317" y="113164"/>
                    </a:lnTo>
                    <a:lnTo>
                      <a:pt x="160317" y="113164"/>
                    </a:lnTo>
                    <a:cubicBezTo>
                      <a:pt x="171732" y="111675"/>
                      <a:pt x="180170" y="102741"/>
                      <a:pt x="180170" y="91821"/>
                    </a:cubicBezTo>
                  </a:path>
                </a:pathLst>
              </a:custGeom>
              <a:solidFill>
                <a:srgbClr val="3999C6"/>
              </a:solidFill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5" name="Freeform: Shape 904">
                <a:extLst>
                  <a:ext uri="{FF2B5EF4-FFF2-40B4-BE49-F238E27FC236}">
                    <a16:creationId xmlns:a16="http://schemas.microsoft.com/office/drawing/2014/main" id="{C88E340A-A317-4792-93F5-727430DB4FDD}"/>
                  </a:ext>
                </a:extLst>
              </p:cNvPr>
              <p:cNvSpPr/>
              <p:nvPr/>
            </p:nvSpPr>
            <p:spPr>
              <a:xfrm>
                <a:off x="7890870" y="-75899"/>
                <a:ext cx="119121" cy="109193"/>
              </a:xfrm>
              <a:custGeom>
                <a:avLst/>
                <a:gdLst>
                  <a:gd name="connsiteX0" fmla="*/ 57575 w 119120"/>
                  <a:gd name="connsiteY0" fmla="*/ 112667 h 109193"/>
                  <a:gd name="connsiteX1" fmla="*/ 47152 w 119120"/>
                  <a:gd name="connsiteY1" fmla="*/ 93807 h 109193"/>
                  <a:gd name="connsiteX2" fmla="*/ 75443 w 119120"/>
                  <a:gd name="connsiteY2" fmla="*/ 48144 h 109193"/>
                  <a:gd name="connsiteX3" fmla="*/ 88348 w 119120"/>
                  <a:gd name="connsiteY3" fmla="*/ 47648 h 109193"/>
                  <a:gd name="connsiteX4" fmla="*/ 119617 w 119120"/>
                  <a:gd name="connsiteY4" fmla="*/ 2978 h 109193"/>
                  <a:gd name="connsiteX5" fmla="*/ 102742 w 119120"/>
                  <a:gd name="connsiteY5" fmla="*/ 0 h 109193"/>
                  <a:gd name="connsiteX6" fmla="*/ 50130 w 119120"/>
                  <a:gd name="connsiteY6" fmla="*/ 37721 h 109193"/>
                  <a:gd name="connsiteX7" fmla="*/ 37722 w 119120"/>
                  <a:gd name="connsiteY7" fmla="*/ 35736 h 109193"/>
                  <a:gd name="connsiteX8" fmla="*/ 0 w 119120"/>
                  <a:gd name="connsiteY8" fmla="*/ 74450 h 109193"/>
                  <a:gd name="connsiteX9" fmla="*/ 37722 w 119120"/>
                  <a:gd name="connsiteY9" fmla="*/ 113164 h 109193"/>
                  <a:gd name="connsiteX10" fmla="*/ 37722 w 119120"/>
                  <a:gd name="connsiteY10" fmla="*/ 113164 h 109193"/>
                  <a:gd name="connsiteX11" fmla="*/ 37722 w 119120"/>
                  <a:gd name="connsiteY11" fmla="*/ 113164 h 109193"/>
                  <a:gd name="connsiteX12" fmla="*/ 57575 w 119120"/>
                  <a:gd name="connsiteY12" fmla="*/ 112667 h 109193"/>
                  <a:gd name="connsiteX13" fmla="*/ 57575 w 119120"/>
                  <a:gd name="connsiteY13" fmla="*/ 112667 h 10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120" h="109193">
                    <a:moveTo>
                      <a:pt x="57575" y="112667"/>
                    </a:moveTo>
                    <a:cubicBezTo>
                      <a:pt x="52612" y="107704"/>
                      <a:pt x="48641" y="101748"/>
                      <a:pt x="47152" y="93807"/>
                    </a:cubicBezTo>
                    <a:cubicBezTo>
                      <a:pt x="42685" y="72961"/>
                      <a:pt x="55093" y="52611"/>
                      <a:pt x="75443" y="48144"/>
                    </a:cubicBezTo>
                    <a:cubicBezTo>
                      <a:pt x="79910" y="47152"/>
                      <a:pt x="83881" y="47152"/>
                      <a:pt x="88348" y="47648"/>
                    </a:cubicBezTo>
                    <a:cubicBezTo>
                      <a:pt x="89837" y="28291"/>
                      <a:pt x="101749" y="11416"/>
                      <a:pt x="119617" y="2978"/>
                    </a:cubicBezTo>
                    <a:cubicBezTo>
                      <a:pt x="114157" y="1489"/>
                      <a:pt x="108698" y="0"/>
                      <a:pt x="102742" y="0"/>
                    </a:cubicBezTo>
                    <a:cubicBezTo>
                      <a:pt x="78421" y="0"/>
                      <a:pt x="57575" y="16379"/>
                      <a:pt x="50130" y="37721"/>
                    </a:cubicBezTo>
                    <a:cubicBezTo>
                      <a:pt x="46159" y="36729"/>
                      <a:pt x="42189" y="35736"/>
                      <a:pt x="37722" y="35736"/>
                    </a:cubicBezTo>
                    <a:cubicBezTo>
                      <a:pt x="16379" y="35736"/>
                      <a:pt x="0" y="53108"/>
                      <a:pt x="0" y="74450"/>
                    </a:cubicBezTo>
                    <a:cubicBezTo>
                      <a:pt x="0" y="95792"/>
                      <a:pt x="16875" y="113164"/>
                      <a:pt x="37722" y="113164"/>
                    </a:cubicBezTo>
                    <a:lnTo>
                      <a:pt x="37722" y="113164"/>
                    </a:lnTo>
                    <a:lnTo>
                      <a:pt x="37722" y="113164"/>
                    </a:lnTo>
                    <a:lnTo>
                      <a:pt x="57575" y="112667"/>
                    </a:lnTo>
                    <a:lnTo>
                      <a:pt x="57575" y="112667"/>
                    </a:lnTo>
                    <a:close/>
                  </a:path>
                </a:pathLst>
              </a:custGeom>
              <a:solidFill>
                <a:srgbClr val="FFFFFF">
                  <a:alpha val="20000"/>
                </a:srgbClr>
              </a:solidFill>
              <a:ln w="49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1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4" name="TextBox 923">
            <a:extLst>
              <a:ext uri="{FF2B5EF4-FFF2-40B4-BE49-F238E27FC236}">
                <a16:creationId xmlns:a16="http://schemas.microsoft.com/office/drawing/2014/main" id="{C93875C0-384C-4257-9BE9-3A27D41F15EC}"/>
              </a:ext>
            </a:extLst>
          </p:cNvPr>
          <p:cNvSpPr txBox="1"/>
          <p:nvPr/>
        </p:nvSpPr>
        <p:spPr>
          <a:xfrm>
            <a:off x="961896" y="1663779"/>
            <a:ext cx="4808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 Service –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bile Ap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25" name="TextBox 924">
            <a:extLst>
              <a:ext uri="{FF2B5EF4-FFF2-40B4-BE49-F238E27FC236}">
                <a16:creationId xmlns:a16="http://schemas.microsoft.com/office/drawing/2014/main" id="{27E4AF01-50F0-442C-BB38-3C700172B2AA}"/>
              </a:ext>
            </a:extLst>
          </p:cNvPr>
          <p:cNvSpPr txBox="1"/>
          <p:nvPr/>
        </p:nvSpPr>
        <p:spPr>
          <a:xfrm>
            <a:off x="1573401" y="1663779"/>
            <a:ext cx="4183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ifica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ub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26" name="TextBox 925">
            <a:extLst>
              <a:ext uri="{FF2B5EF4-FFF2-40B4-BE49-F238E27FC236}">
                <a16:creationId xmlns:a16="http://schemas.microsoft.com/office/drawing/2014/main" id="{C38F002D-8C83-4C55-99A5-AB1A039B126F}"/>
              </a:ext>
            </a:extLst>
          </p:cNvPr>
          <p:cNvSpPr txBox="1"/>
          <p:nvPr/>
        </p:nvSpPr>
        <p:spPr>
          <a:xfrm>
            <a:off x="2122399" y="1663779"/>
            <a:ext cx="17149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27" name="TextBox 926">
            <a:extLst>
              <a:ext uri="{FF2B5EF4-FFF2-40B4-BE49-F238E27FC236}">
                <a16:creationId xmlns:a16="http://schemas.microsoft.com/office/drawing/2014/main" id="{1CA8AB44-C6D9-4F7A-B75F-EB8F09ECA3E6}"/>
              </a:ext>
            </a:extLst>
          </p:cNvPr>
          <p:cNvSpPr txBox="1"/>
          <p:nvPr/>
        </p:nvSpPr>
        <p:spPr>
          <a:xfrm>
            <a:off x="2424571" y="1663779"/>
            <a:ext cx="2708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S App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nt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28" name="TextBox 927">
            <a:extLst>
              <a:ext uri="{FF2B5EF4-FFF2-40B4-BE49-F238E27FC236}">
                <a16:creationId xmlns:a16="http://schemas.microsoft.com/office/drawing/2014/main" id="{98523032-36A2-48C6-811A-AB34BC5658AD}"/>
              </a:ext>
            </a:extLst>
          </p:cNvPr>
          <p:cNvSpPr txBox="1"/>
          <p:nvPr/>
        </p:nvSpPr>
        <p:spPr>
          <a:xfrm>
            <a:off x="2826112" y="1663779"/>
            <a:ext cx="2163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29" name="TextBox 928">
            <a:extLst>
              <a:ext uri="{FF2B5EF4-FFF2-40B4-BE49-F238E27FC236}">
                <a16:creationId xmlns:a16="http://schemas.microsoft.com/office/drawing/2014/main" id="{B0478CEA-4167-4E81-B0F5-562AAC75AD4B}"/>
              </a:ext>
            </a:extLst>
          </p:cNvPr>
          <p:cNvSpPr txBox="1"/>
          <p:nvPr/>
        </p:nvSpPr>
        <p:spPr>
          <a:xfrm>
            <a:off x="3173159" y="1663777"/>
            <a:ext cx="277280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Xamari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0" name="TextBox 929">
            <a:extLst>
              <a:ext uri="{FF2B5EF4-FFF2-40B4-BE49-F238E27FC236}">
                <a16:creationId xmlns:a16="http://schemas.microsoft.com/office/drawing/2014/main" id="{4119F599-CC65-44B9-AFCB-CB2585761A1E}"/>
              </a:ext>
            </a:extLst>
          </p:cNvPr>
          <p:cNvSpPr txBox="1"/>
          <p:nvPr/>
        </p:nvSpPr>
        <p:spPr>
          <a:xfrm>
            <a:off x="4596312" y="1663779"/>
            <a:ext cx="54975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bas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MySQL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1" name="TextBox 930">
            <a:extLst>
              <a:ext uri="{FF2B5EF4-FFF2-40B4-BE49-F238E27FC236}">
                <a16:creationId xmlns:a16="http://schemas.microsoft.com/office/drawing/2014/main" id="{66651BA3-6B08-427D-8CB1-E07C882156E5}"/>
              </a:ext>
            </a:extLst>
          </p:cNvPr>
          <p:cNvSpPr txBox="1"/>
          <p:nvPr/>
        </p:nvSpPr>
        <p:spPr>
          <a:xfrm>
            <a:off x="5145468" y="1663779"/>
            <a:ext cx="54975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bas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PostgreSQL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3" name="TextBox 932">
            <a:extLst>
              <a:ext uri="{FF2B5EF4-FFF2-40B4-BE49-F238E27FC236}">
                <a16:creationId xmlns:a16="http://schemas.microsoft.com/office/drawing/2014/main" id="{EB9C0E00-B03F-45CF-8CED-B0AAE13ADAB9}"/>
              </a:ext>
            </a:extLst>
          </p:cNvPr>
          <p:cNvSpPr txBox="1"/>
          <p:nvPr/>
        </p:nvSpPr>
        <p:spPr>
          <a:xfrm>
            <a:off x="6374297" y="1663779"/>
            <a:ext cx="57219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QL Serv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tch Databas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4" name="TextBox 933">
            <a:extLst>
              <a:ext uri="{FF2B5EF4-FFF2-40B4-BE49-F238E27FC236}">
                <a16:creationId xmlns:a16="http://schemas.microsoft.com/office/drawing/2014/main" id="{D91E3E0C-65E4-44C2-B20B-45C48E0D8D34}"/>
              </a:ext>
            </a:extLst>
          </p:cNvPr>
          <p:cNvSpPr txBox="1"/>
          <p:nvPr/>
        </p:nvSpPr>
        <p:spPr>
          <a:xfrm>
            <a:off x="7607074" y="1663779"/>
            <a:ext cx="26285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le 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a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5" name="TextBox 934">
            <a:extLst>
              <a:ext uri="{FF2B5EF4-FFF2-40B4-BE49-F238E27FC236}">
                <a16:creationId xmlns:a16="http://schemas.microsoft.com/office/drawing/2014/main" id="{2CC65D7D-7DCF-49FC-93B0-76D6A38D3973}"/>
              </a:ext>
            </a:extLst>
          </p:cNvPr>
          <p:cNvSpPr txBox="1"/>
          <p:nvPr/>
        </p:nvSpPr>
        <p:spPr>
          <a:xfrm>
            <a:off x="4127294" y="1663777"/>
            <a:ext cx="469613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QL Databas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6" name="TextBox 935">
            <a:extLst>
              <a:ext uri="{FF2B5EF4-FFF2-40B4-BE49-F238E27FC236}">
                <a16:creationId xmlns:a16="http://schemas.microsoft.com/office/drawing/2014/main" id="{5188C4D7-5B4C-416A-BDC4-17F41CAAD64A}"/>
              </a:ext>
            </a:extLst>
          </p:cNvPr>
          <p:cNvSpPr txBox="1"/>
          <p:nvPr/>
        </p:nvSpPr>
        <p:spPr>
          <a:xfrm>
            <a:off x="7057944" y="1663779"/>
            <a:ext cx="38787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3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smos DB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172A4FD8-CF18-48C7-923D-70BEC802E310}"/>
              </a:ext>
            </a:extLst>
          </p:cNvPr>
          <p:cNvSpPr txBox="1"/>
          <p:nvPr/>
        </p:nvSpPr>
        <p:spPr>
          <a:xfrm>
            <a:off x="8049863" y="1663779"/>
            <a:ext cx="4215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Cache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Redi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FBBEA455-FB90-428D-98B4-2C69E2DF06EC}"/>
              </a:ext>
            </a:extLst>
          </p:cNvPr>
          <p:cNvSpPr txBox="1"/>
          <p:nvPr/>
        </p:nvSpPr>
        <p:spPr>
          <a:xfrm>
            <a:off x="8613976" y="1663779"/>
            <a:ext cx="3910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QL Serv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 VM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39" name="TextBox 938">
            <a:extLst>
              <a:ext uri="{FF2B5EF4-FFF2-40B4-BE49-F238E27FC236}">
                <a16:creationId xmlns:a16="http://schemas.microsoft.com/office/drawing/2014/main" id="{EA2FDACD-3AC7-49F7-BA37-494F9C10357A}"/>
              </a:ext>
            </a:extLst>
          </p:cNvPr>
          <p:cNvSpPr txBox="1"/>
          <p:nvPr/>
        </p:nvSpPr>
        <p:spPr>
          <a:xfrm>
            <a:off x="9172536" y="1663779"/>
            <a:ext cx="54975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bas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MariaDB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40" name="TextBox 939">
            <a:extLst>
              <a:ext uri="{FF2B5EF4-FFF2-40B4-BE49-F238E27FC236}">
                <a16:creationId xmlns:a16="http://schemas.microsoft.com/office/drawing/2014/main" id="{24D96C26-7BF8-420D-BC4B-B724628BF8DF}"/>
              </a:ext>
            </a:extLst>
          </p:cNvPr>
          <p:cNvSpPr txBox="1"/>
          <p:nvPr/>
        </p:nvSpPr>
        <p:spPr>
          <a:xfrm>
            <a:off x="9815070" y="1663779"/>
            <a:ext cx="59302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bas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ation 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41" name="TextBox 940">
            <a:extLst>
              <a:ext uri="{FF2B5EF4-FFF2-40B4-BE49-F238E27FC236}">
                <a16:creationId xmlns:a16="http://schemas.microsoft.com/office/drawing/2014/main" id="{0003F3A7-E4C3-44B2-8B74-6F482CB0D1B9}"/>
              </a:ext>
            </a:extLst>
          </p:cNvPr>
          <p:cNvSpPr txBox="1"/>
          <p:nvPr/>
        </p:nvSpPr>
        <p:spPr>
          <a:xfrm>
            <a:off x="10563130" y="1663779"/>
            <a:ext cx="3942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lor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942" name="TextBox 941">
            <a:extLst>
              <a:ext uri="{FF2B5EF4-FFF2-40B4-BE49-F238E27FC236}">
                <a16:creationId xmlns:a16="http://schemas.microsoft.com/office/drawing/2014/main" id="{593755AD-3E2D-4EB2-B41D-E111880F935A}"/>
              </a:ext>
            </a:extLst>
          </p:cNvPr>
          <p:cNvSpPr txBox="1"/>
          <p:nvPr/>
        </p:nvSpPr>
        <p:spPr>
          <a:xfrm>
            <a:off x="11143573" y="1663779"/>
            <a:ext cx="2452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cto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pic>
        <p:nvPicPr>
          <p:cNvPr id="961" name="Graphic 960">
            <a:extLst>
              <a:ext uri="{FF2B5EF4-FFF2-40B4-BE49-F238E27FC236}">
                <a16:creationId xmlns:a16="http://schemas.microsoft.com/office/drawing/2014/main" id="{F3591EC0-8547-4945-BA30-DC0429562764}"/>
              </a:ext>
            </a:extLst>
          </p:cNvPr>
          <p:cNvPicPr>
            <a:picLocks noChangeAspect="1"/>
          </p:cNvPicPr>
          <p:nvPr/>
        </p:nvPicPr>
        <p:blipFill>
          <a:blip r:embed="rId137">
            <a:extLst>
              <a:ext uri="{96DAC541-7B7A-43D3-8B79-37D633B846F1}">
                <asvg:svgBlip xmlns:asvg="http://schemas.microsoft.com/office/drawing/2016/SVG/main" r:embed="rId138"/>
              </a:ext>
            </a:extLst>
          </a:blip>
          <a:stretch>
            <a:fillRect/>
          </a:stretch>
        </p:blipFill>
        <p:spPr>
          <a:xfrm>
            <a:off x="2875802" y="1468198"/>
            <a:ext cx="116997" cy="150423"/>
          </a:xfrm>
          <a:prstGeom prst="rect">
            <a:avLst/>
          </a:prstGeom>
        </p:spPr>
      </p:pic>
      <p:pic>
        <p:nvPicPr>
          <p:cNvPr id="962" name="Graphic 961">
            <a:extLst>
              <a:ext uri="{FF2B5EF4-FFF2-40B4-BE49-F238E27FC236}">
                <a16:creationId xmlns:a16="http://schemas.microsoft.com/office/drawing/2014/main" id="{E1359BAF-92AD-40B6-BE73-C5B8F1494C06}"/>
              </a:ext>
            </a:extLst>
          </p:cNvPr>
          <p:cNvPicPr>
            <a:picLocks noChangeAspect="1"/>
          </p:cNvPicPr>
          <p:nvPr/>
        </p:nvPicPr>
        <p:blipFill>
          <a:blip r:embed="rId139">
            <a:extLst>
              <a:ext uri="{96DAC541-7B7A-43D3-8B79-37D633B846F1}">
                <asvg:svgBlip xmlns:asvg="http://schemas.microsoft.com/office/drawing/2016/SVG/main" r:embed="rId140"/>
              </a:ext>
            </a:extLst>
          </a:blip>
          <a:stretch>
            <a:fillRect/>
          </a:stretch>
        </p:blipFill>
        <p:spPr>
          <a:xfrm>
            <a:off x="1118525" y="1451048"/>
            <a:ext cx="167574" cy="167572"/>
          </a:xfrm>
          <a:prstGeom prst="rect">
            <a:avLst/>
          </a:prstGeom>
        </p:spPr>
      </p:pic>
      <p:pic>
        <p:nvPicPr>
          <p:cNvPr id="963" name="Picture 962" descr="App Service API">
            <a:extLst>
              <a:ext uri="{FF2B5EF4-FFF2-40B4-BE49-F238E27FC236}">
                <a16:creationId xmlns:a16="http://schemas.microsoft.com/office/drawing/2014/main" id="{1C804673-D5E6-4D5F-8529-3D7E6F63C2AC}"/>
              </a:ext>
            </a:extLst>
          </p:cNvPr>
          <p:cNvPicPr>
            <a:picLocks noChangeAspect="1"/>
          </p:cNvPicPr>
          <p:nvPr/>
        </p:nvPicPr>
        <p:blipFill>
          <a:blip r:embed="rId126"/>
          <a:stretch>
            <a:fillRect/>
          </a:stretch>
        </p:blipFill>
        <p:spPr>
          <a:xfrm>
            <a:off x="2124362" y="1476832"/>
            <a:ext cx="167574" cy="141788"/>
          </a:xfrm>
          <a:prstGeom prst="rect">
            <a:avLst/>
          </a:prstGeom>
        </p:spPr>
      </p:pic>
      <p:pic>
        <p:nvPicPr>
          <p:cNvPr id="964" name="Graphic 963">
            <a:extLst>
              <a:ext uri="{FF2B5EF4-FFF2-40B4-BE49-F238E27FC236}">
                <a16:creationId xmlns:a16="http://schemas.microsoft.com/office/drawing/2014/main" id="{F0745CE0-ABBB-44BF-A30E-5590B1E7CB6E}"/>
              </a:ext>
            </a:extLst>
          </p:cNvPr>
          <p:cNvPicPr>
            <a:picLocks noChangeAspect="1"/>
          </p:cNvPicPr>
          <p:nvPr/>
        </p:nvPicPr>
        <p:blipFill>
          <a:blip r:embed="rId118">
            <a:extLs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1698776" y="1451048"/>
            <a:ext cx="167574" cy="167572"/>
          </a:xfrm>
          <a:prstGeom prst="rect">
            <a:avLst/>
          </a:prstGeom>
        </p:spPr>
      </p:pic>
      <p:pic>
        <p:nvPicPr>
          <p:cNvPr id="965" name="Graphic 964" descr="Xamarin">
            <a:extLst>
              <a:ext uri="{FF2B5EF4-FFF2-40B4-BE49-F238E27FC236}">
                <a16:creationId xmlns:a16="http://schemas.microsoft.com/office/drawing/2014/main" id="{2FE45DAA-01D4-439E-8F60-B06D384D9B8D}"/>
              </a:ext>
            </a:extLst>
          </p:cNvPr>
          <p:cNvPicPr>
            <a:picLocks noChangeAspect="1"/>
          </p:cNvPicPr>
          <p:nvPr/>
        </p:nvPicPr>
        <p:blipFill>
          <a:blip r:embed="rId14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2"/>
              </a:ext>
            </a:extLst>
          </a:blip>
          <a:stretch>
            <a:fillRect/>
          </a:stretch>
        </p:blipFill>
        <p:spPr>
          <a:xfrm>
            <a:off x="3228012" y="1451048"/>
            <a:ext cx="167574" cy="167572"/>
          </a:xfrm>
          <a:prstGeom prst="rect">
            <a:avLst/>
          </a:prstGeom>
        </p:spPr>
      </p:pic>
      <p:pic>
        <p:nvPicPr>
          <p:cNvPr id="966" name="Graphic 965" descr="Visual Studio App Center">
            <a:extLst>
              <a:ext uri="{FF2B5EF4-FFF2-40B4-BE49-F238E27FC236}">
                <a16:creationId xmlns:a16="http://schemas.microsoft.com/office/drawing/2014/main" id="{672C2AC1-A9C5-4BE6-BBDF-8C1AB80608AD}"/>
              </a:ext>
            </a:extLst>
          </p:cNvPr>
          <p:cNvPicPr>
            <a:picLocks noChangeAspect="1"/>
          </p:cNvPicPr>
          <p:nvPr/>
        </p:nvPicPr>
        <p:blipFill>
          <a:blip r:embed="rId14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4"/>
              </a:ext>
            </a:extLst>
          </a:blip>
          <a:stretch>
            <a:fillRect/>
          </a:stretch>
        </p:blipFill>
        <p:spPr>
          <a:xfrm>
            <a:off x="2476218" y="1451048"/>
            <a:ext cx="167574" cy="167572"/>
          </a:xfrm>
          <a:prstGeom prst="rect">
            <a:avLst/>
          </a:prstGeom>
        </p:spPr>
      </p:pic>
      <p:pic>
        <p:nvPicPr>
          <p:cNvPr id="967" name="Graphic 966">
            <a:extLst>
              <a:ext uri="{FF2B5EF4-FFF2-40B4-BE49-F238E27FC236}">
                <a16:creationId xmlns:a16="http://schemas.microsoft.com/office/drawing/2014/main" id="{60E549D0-3328-4290-B515-9405778CD0A1}"/>
              </a:ext>
            </a:extLst>
          </p:cNvPr>
          <p:cNvPicPr>
            <a:picLocks noChangeAspect="1"/>
          </p:cNvPicPr>
          <p:nvPr/>
        </p:nvPicPr>
        <p:blipFill>
          <a:blip r:embed="rId145">
            <a:extLst>
              <a:ext uri="{96DAC541-7B7A-43D3-8B79-37D633B846F1}">
                <asvg:svgBlip xmlns:asvg="http://schemas.microsoft.com/office/drawing/2016/SVG/main" r:embed="rId146"/>
              </a:ext>
            </a:extLst>
          </a:blip>
          <a:stretch>
            <a:fillRect/>
          </a:stretch>
        </p:blipFill>
        <p:spPr>
          <a:xfrm>
            <a:off x="8172836" y="1443039"/>
            <a:ext cx="175581" cy="175581"/>
          </a:xfrm>
          <a:prstGeom prst="rect">
            <a:avLst/>
          </a:prstGeom>
        </p:spPr>
      </p:pic>
      <p:pic>
        <p:nvPicPr>
          <p:cNvPr id="968" name="Graphic 967">
            <a:extLst>
              <a:ext uri="{FF2B5EF4-FFF2-40B4-BE49-F238E27FC236}">
                <a16:creationId xmlns:a16="http://schemas.microsoft.com/office/drawing/2014/main" id="{AF68696C-6922-424F-8DED-2E922ACE8BA8}"/>
              </a:ext>
            </a:extLst>
          </p:cNvPr>
          <p:cNvPicPr>
            <a:picLocks noChangeAspect="1"/>
          </p:cNvPicPr>
          <p:nvPr/>
        </p:nvPicPr>
        <p:blipFill>
          <a:blip r:embed="rId147">
            <a:extLst>
              <a:ext uri="{96DAC541-7B7A-43D3-8B79-37D633B846F1}">
                <asvg:svgBlip xmlns:asvg="http://schemas.microsoft.com/office/drawing/2016/SVG/main" r:embed="rId148"/>
              </a:ext>
            </a:extLst>
          </a:blip>
          <a:stretch>
            <a:fillRect/>
          </a:stretch>
        </p:blipFill>
        <p:spPr>
          <a:xfrm>
            <a:off x="7164089" y="1457671"/>
            <a:ext cx="175581" cy="160950"/>
          </a:xfrm>
          <a:prstGeom prst="rect">
            <a:avLst/>
          </a:prstGeom>
        </p:spPr>
      </p:pic>
      <p:pic>
        <p:nvPicPr>
          <p:cNvPr id="969" name="Graphic 968">
            <a:extLst>
              <a:ext uri="{FF2B5EF4-FFF2-40B4-BE49-F238E27FC236}">
                <a16:creationId xmlns:a16="http://schemas.microsoft.com/office/drawing/2014/main" id="{89AA47EE-344F-471C-B828-BD04BB883C54}"/>
              </a:ext>
            </a:extLst>
          </p:cNvPr>
          <p:cNvPicPr>
            <a:picLocks noChangeAspect="1"/>
          </p:cNvPicPr>
          <p:nvPr/>
        </p:nvPicPr>
        <p:blipFill>
          <a:blip r:embed="rId149">
            <a:extLst>
              <a:ext uri="{96DAC541-7B7A-43D3-8B79-37D633B846F1}">
                <asvg:svgBlip xmlns:asvg="http://schemas.microsoft.com/office/drawing/2016/SVG/main" r:embed="rId150"/>
              </a:ext>
            </a:extLst>
          </a:blip>
          <a:stretch>
            <a:fillRect/>
          </a:stretch>
        </p:blipFill>
        <p:spPr>
          <a:xfrm>
            <a:off x="9389112" y="1464542"/>
            <a:ext cx="116601" cy="154078"/>
          </a:xfrm>
          <a:prstGeom prst="rect">
            <a:avLst/>
          </a:prstGeom>
        </p:spPr>
      </p:pic>
      <p:pic>
        <p:nvPicPr>
          <p:cNvPr id="970" name="Graphic 969">
            <a:extLst>
              <a:ext uri="{FF2B5EF4-FFF2-40B4-BE49-F238E27FC236}">
                <a16:creationId xmlns:a16="http://schemas.microsoft.com/office/drawing/2014/main" id="{5399925F-A4D5-4FD6-9863-EEA14E727110}"/>
              </a:ext>
            </a:extLst>
          </p:cNvPr>
          <p:cNvPicPr>
            <a:picLocks noChangeAspect="1"/>
          </p:cNvPicPr>
          <p:nvPr/>
        </p:nvPicPr>
        <p:blipFill>
          <a:blip r:embed="rId151">
            <a:extLst>
              <a:ext uri="{96DAC541-7B7A-43D3-8B79-37D633B846F1}">
                <asvg:svgBlip xmlns:asvg="http://schemas.microsoft.com/office/drawing/2016/SVG/main" r:embed="rId152"/>
              </a:ext>
            </a:extLst>
          </a:blip>
          <a:stretch>
            <a:fillRect/>
          </a:stretch>
        </p:blipFill>
        <p:spPr>
          <a:xfrm>
            <a:off x="4802620" y="1437403"/>
            <a:ext cx="137137" cy="181217"/>
          </a:xfrm>
          <a:prstGeom prst="rect">
            <a:avLst/>
          </a:prstGeom>
        </p:spPr>
      </p:pic>
      <p:pic>
        <p:nvPicPr>
          <p:cNvPr id="971" name="Graphic 970">
            <a:extLst>
              <a:ext uri="{FF2B5EF4-FFF2-40B4-BE49-F238E27FC236}">
                <a16:creationId xmlns:a16="http://schemas.microsoft.com/office/drawing/2014/main" id="{99751901-11F1-4C00-AF98-70570ED583B6}"/>
              </a:ext>
            </a:extLst>
          </p:cNvPr>
          <p:cNvPicPr>
            <a:picLocks noChangeAspect="1"/>
          </p:cNvPicPr>
          <p:nvPr/>
        </p:nvPicPr>
        <p:blipFill>
          <a:blip r:embed="rId153">
            <a:extLst>
              <a:ext uri="{96DAC541-7B7A-43D3-8B79-37D633B846F1}">
                <asvg:svgBlip xmlns:asvg="http://schemas.microsoft.com/office/drawing/2016/SVG/main" r:embed="rId154"/>
              </a:ext>
            </a:extLst>
          </a:blip>
          <a:stretch>
            <a:fillRect/>
          </a:stretch>
        </p:blipFill>
        <p:spPr>
          <a:xfrm>
            <a:off x="5351777" y="1434856"/>
            <a:ext cx="137137" cy="183765"/>
          </a:xfrm>
          <a:prstGeom prst="rect">
            <a:avLst/>
          </a:prstGeom>
        </p:spPr>
      </p:pic>
      <p:pic>
        <p:nvPicPr>
          <p:cNvPr id="972" name="Graphic 971">
            <a:extLst>
              <a:ext uri="{FF2B5EF4-FFF2-40B4-BE49-F238E27FC236}">
                <a16:creationId xmlns:a16="http://schemas.microsoft.com/office/drawing/2014/main" id="{798E02E8-D219-43B4-A9F9-B4BF57246A3F}"/>
              </a:ext>
            </a:extLst>
          </p:cNvPr>
          <p:cNvPicPr>
            <a:picLocks noChangeAspect="1"/>
          </p:cNvPicPr>
          <p:nvPr/>
        </p:nvPicPr>
        <p:blipFill>
          <a:blip r:embed="rId155">
            <a:extLst>
              <a:ext uri="{96DAC541-7B7A-43D3-8B79-37D633B846F1}">
                <asvg:svgBlip xmlns:asvg="http://schemas.microsoft.com/office/drawing/2016/SVG/main" r:embed="rId156"/>
              </a:ext>
            </a:extLst>
          </a:blip>
          <a:stretch>
            <a:fillRect/>
          </a:stretch>
        </p:blipFill>
        <p:spPr>
          <a:xfrm>
            <a:off x="10691958" y="1481993"/>
            <a:ext cx="136627" cy="136627"/>
          </a:xfrm>
          <a:prstGeom prst="rect">
            <a:avLst/>
          </a:prstGeom>
        </p:spPr>
      </p:pic>
      <p:pic>
        <p:nvPicPr>
          <p:cNvPr id="973" name="Graphic 972">
            <a:extLst>
              <a:ext uri="{FF2B5EF4-FFF2-40B4-BE49-F238E27FC236}">
                <a16:creationId xmlns:a16="http://schemas.microsoft.com/office/drawing/2014/main" id="{F3FD8D73-E914-4366-957D-F28FDD16CD8B}"/>
              </a:ext>
            </a:extLst>
          </p:cNvPr>
          <p:cNvPicPr>
            <a:picLocks noChangeAspect="1"/>
          </p:cNvPicPr>
          <p:nvPr/>
        </p:nvPicPr>
        <p:blipFill>
          <a:blip r:embed="rId157">
            <a:extLst>
              <a:ext uri="{96DAC541-7B7A-43D3-8B79-37D633B846F1}">
                <asvg:svgBlip xmlns:asvg="http://schemas.microsoft.com/office/drawing/2016/SVG/main" r:embed="rId158"/>
              </a:ext>
            </a:extLst>
          </a:blip>
          <a:stretch>
            <a:fillRect/>
          </a:stretch>
        </p:blipFill>
        <p:spPr>
          <a:xfrm>
            <a:off x="11190748" y="1489340"/>
            <a:ext cx="129280" cy="129280"/>
          </a:xfrm>
          <a:prstGeom prst="rect">
            <a:avLst/>
          </a:prstGeom>
        </p:spPr>
      </p:pic>
      <p:pic>
        <p:nvPicPr>
          <p:cNvPr id="974" name="Graphic 973">
            <a:extLst>
              <a:ext uri="{FF2B5EF4-FFF2-40B4-BE49-F238E27FC236}">
                <a16:creationId xmlns:a16="http://schemas.microsoft.com/office/drawing/2014/main" id="{E33A5E2E-EA15-4C2E-A922-ABC2DD712D70}"/>
              </a:ext>
            </a:extLst>
          </p:cNvPr>
          <p:cNvPicPr>
            <a:picLocks noChangeAspect="1"/>
          </p:cNvPicPr>
          <p:nvPr/>
        </p:nvPicPr>
        <p:blipFill>
          <a:blip r:embed="rId159">
            <a:extLst>
              <a:ext uri="{96DAC541-7B7A-43D3-8B79-37D633B846F1}">
                <asvg:svgBlip xmlns:asvg="http://schemas.microsoft.com/office/drawing/2016/SVG/main" r:embed="rId160"/>
              </a:ext>
            </a:extLst>
          </a:blip>
          <a:stretch>
            <a:fillRect/>
          </a:stretch>
        </p:blipFill>
        <p:spPr>
          <a:xfrm>
            <a:off x="8733808" y="1467211"/>
            <a:ext cx="151410" cy="151410"/>
          </a:xfrm>
          <a:prstGeom prst="rect">
            <a:avLst/>
          </a:prstGeom>
        </p:spPr>
      </p:pic>
      <p:pic>
        <p:nvPicPr>
          <p:cNvPr id="975" name="Graphic 974">
            <a:extLst>
              <a:ext uri="{FF2B5EF4-FFF2-40B4-BE49-F238E27FC236}">
                <a16:creationId xmlns:a16="http://schemas.microsoft.com/office/drawing/2014/main" id="{BC4F330E-21CE-4B0D-BDD8-E638D03EC3D7}"/>
              </a:ext>
            </a:extLst>
          </p:cNvPr>
          <p:cNvPicPr>
            <a:picLocks noChangeAspect="1"/>
          </p:cNvPicPr>
          <p:nvPr/>
        </p:nvPicPr>
        <p:blipFill>
          <a:blip r:embed="rId161">
            <a:extLst>
              <a:ext uri="{96DAC541-7B7A-43D3-8B79-37D633B846F1}">
                <asvg:svgBlip xmlns:asvg="http://schemas.microsoft.com/office/drawing/2016/SVG/main" r:embed="rId162"/>
              </a:ext>
            </a:extLst>
          </a:blip>
          <a:stretch>
            <a:fillRect/>
          </a:stretch>
        </p:blipFill>
        <p:spPr>
          <a:xfrm>
            <a:off x="10023792" y="1443039"/>
            <a:ext cx="175581" cy="175581"/>
          </a:xfrm>
          <a:prstGeom prst="rect">
            <a:avLst/>
          </a:prstGeom>
        </p:spPr>
      </p:pic>
      <p:pic>
        <p:nvPicPr>
          <p:cNvPr id="976" name="Graphic 975">
            <a:extLst>
              <a:ext uri="{FF2B5EF4-FFF2-40B4-BE49-F238E27FC236}">
                <a16:creationId xmlns:a16="http://schemas.microsoft.com/office/drawing/2014/main" id="{912B77A8-BAAF-4BA7-8FF8-1899855D6CFE}"/>
              </a:ext>
            </a:extLst>
          </p:cNvPr>
          <p:cNvPicPr>
            <a:picLocks noChangeAspect="1"/>
          </p:cNvPicPr>
          <p:nvPr/>
        </p:nvPicPr>
        <p:blipFill>
          <a:blip r:embed="rId163">
            <a:extLst>
              <a:ext uri="{96DAC541-7B7A-43D3-8B79-37D633B846F1}">
                <asvg:svgBlip xmlns:asvg="http://schemas.microsoft.com/office/drawing/2016/SVG/main" r:embed="rId164"/>
              </a:ext>
            </a:extLst>
          </a:blip>
          <a:stretch>
            <a:fillRect/>
          </a:stretch>
        </p:blipFill>
        <p:spPr>
          <a:xfrm>
            <a:off x="4271493" y="1437403"/>
            <a:ext cx="181217" cy="181217"/>
          </a:xfrm>
          <a:prstGeom prst="rect">
            <a:avLst/>
          </a:prstGeom>
        </p:spPr>
      </p:pic>
      <p:pic>
        <p:nvPicPr>
          <p:cNvPr id="977" name="Graphic 976" descr="Table Storage">
            <a:extLst>
              <a:ext uri="{FF2B5EF4-FFF2-40B4-BE49-F238E27FC236}">
                <a16:creationId xmlns:a16="http://schemas.microsoft.com/office/drawing/2014/main" id="{BC102A64-2230-4EA0-A212-B99661F8FB17}"/>
              </a:ext>
            </a:extLst>
          </p:cNvPr>
          <p:cNvPicPr>
            <a:picLocks noChangeAspect="1"/>
          </p:cNvPicPr>
          <p:nvPr/>
        </p:nvPicPr>
        <p:blipFill>
          <a:blip r:embed="rId16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6"/>
              </a:ext>
            </a:extLst>
          </a:blip>
          <a:stretch>
            <a:fillRect/>
          </a:stretch>
        </p:blipFill>
        <p:spPr>
          <a:xfrm>
            <a:off x="7650711" y="1443039"/>
            <a:ext cx="175581" cy="175581"/>
          </a:xfrm>
          <a:prstGeom prst="rect">
            <a:avLst/>
          </a:prstGeom>
        </p:spPr>
      </p:pic>
      <p:pic>
        <p:nvPicPr>
          <p:cNvPr id="979" name="Graphic 978">
            <a:extLst>
              <a:ext uri="{FF2B5EF4-FFF2-40B4-BE49-F238E27FC236}">
                <a16:creationId xmlns:a16="http://schemas.microsoft.com/office/drawing/2014/main" id="{B45B78B6-8DF5-4C6E-B15E-7DD71C8162FD}"/>
              </a:ext>
            </a:extLst>
          </p:cNvPr>
          <p:cNvPicPr>
            <a:picLocks noChangeAspect="1"/>
          </p:cNvPicPr>
          <p:nvPr/>
        </p:nvPicPr>
        <p:blipFill>
          <a:blip r:embed="rId163">
            <a:extLst>
              <a:ext uri="{96DAC541-7B7A-43D3-8B79-37D633B846F1}">
                <asvg:svgBlip xmlns:asvg="http://schemas.microsoft.com/office/drawing/2016/SVG/main" r:embed="rId164"/>
              </a:ext>
            </a:extLst>
          </a:blip>
          <a:stretch>
            <a:fillRect/>
          </a:stretch>
        </p:blipFill>
        <p:spPr>
          <a:xfrm>
            <a:off x="6578773" y="1455385"/>
            <a:ext cx="163235" cy="163235"/>
          </a:xfrm>
          <a:prstGeom prst="rect">
            <a:avLst/>
          </a:prstGeom>
        </p:spPr>
      </p:pic>
      <p:sp>
        <p:nvSpPr>
          <p:cNvPr id="981" name="TextBox 980">
            <a:extLst>
              <a:ext uri="{FF2B5EF4-FFF2-40B4-BE49-F238E27FC236}">
                <a16:creationId xmlns:a16="http://schemas.microsoft.com/office/drawing/2014/main" id="{380A7745-28DB-4055-AD76-8CF507F23944}"/>
              </a:ext>
            </a:extLst>
          </p:cNvPr>
          <p:cNvSpPr txBox="1"/>
          <p:nvPr/>
        </p:nvSpPr>
        <p:spPr>
          <a:xfrm>
            <a:off x="4047822" y="2293933"/>
            <a:ext cx="2452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cto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2" name="TextBox 981">
            <a:extLst>
              <a:ext uri="{FF2B5EF4-FFF2-40B4-BE49-F238E27FC236}">
                <a16:creationId xmlns:a16="http://schemas.microsoft.com/office/drawing/2014/main" id="{08E79D21-2A72-4586-BAA3-14B64AEB4D76}"/>
              </a:ext>
            </a:extLst>
          </p:cNvPr>
          <p:cNvSpPr txBox="1"/>
          <p:nvPr/>
        </p:nvSpPr>
        <p:spPr>
          <a:xfrm>
            <a:off x="982922" y="2293933"/>
            <a:ext cx="3542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brick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3" name="TextBox 982">
            <a:extLst>
              <a:ext uri="{FF2B5EF4-FFF2-40B4-BE49-F238E27FC236}">
                <a16:creationId xmlns:a16="http://schemas.microsoft.com/office/drawing/2014/main" id="{04B4A79F-268F-46C4-8A44-76C1F091D5DA}"/>
              </a:ext>
            </a:extLst>
          </p:cNvPr>
          <p:cNvSpPr txBox="1"/>
          <p:nvPr/>
        </p:nvSpPr>
        <p:spPr>
          <a:xfrm>
            <a:off x="1437807" y="2293931"/>
            <a:ext cx="338186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6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DInsigh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4" name="TextBox 983">
            <a:extLst>
              <a:ext uri="{FF2B5EF4-FFF2-40B4-BE49-F238E27FC236}">
                <a16:creationId xmlns:a16="http://schemas.microsoft.com/office/drawing/2014/main" id="{39D19CD5-0F2A-43C1-87E4-23E018E1C077}"/>
              </a:ext>
            </a:extLst>
          </p:cNvPr>
          <p:cNvSpPr txBox="1"/>
          <p:nvPr/>
        </p:nvSpPr>
        <p:spPr>
          <a:xfrm>
            <a:off x="1876665" y="2293933"/>
            <a:ext cx="29971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lytic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5" name="TextBox 984">
            <a:extLst>
              <a:ext uri="{FF2B5EF4-FFF2-40B4-BE49-F238E27FC236}">
                <a16:creationId xmlns:a16="http://schemas.microsoft.com/office/drawing/2014/main" id="{B88E7047-E529-450A-BC9C-A52F9C32C382}"/>
              </a:ext>
            </a:extLst>
          </p:cNvPr>
          <p:cNvSpPr txBox="1"/>
          <p:nvPr/>
        </p:nvSpPr>
        <p:spPr>
          <a:xfrm>
            <a:off x="2304760" y="2293933"/>
            <a:ext cx="2051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 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ub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6" name="TextBox 985">
            <a:extLst>
              <a:ext uri="{FF2B5EF4-FFF2-40B4-BE49-F238E27FC236}">
                <a16:creationId xmlns:a16="http://schemas.microsoft.com/office/drawing/2014/main" id="{FC867AC3-BD2E-47B4-844F-830B8D159905}"/>
              </a:ext>
            </a:extLst>
          </p:cNvPr>
          <p:cNvSpPr txBox="1"/>
          <p:nvPr/>
        </p:nvSpPr>
        <p:spPr>
          <a:xfrm>
            <a:off x="4566870" y="2293933"/>
            <a:ext cx="50807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nalysis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8" name="TextBox 987">
            <a:extLst>
              <a:ext uri="{FF2B5EF4-FFF2-40B4-BE49-F238E27FC236}">
                <a16:creationId xmlns:a16="http://schemas.microsoft.com/office/drawing/2014/main" id="{505BF52E-B07C-47F9-9B32-7A920D77CE51}"/>
              </a:ext>
            </a:extLst>
          </p:cNvPr>
          <p:cNvSpPr txBox="1"/>
          <p:nvPr/>
        </p:nvSpPr>
        <p:spPr>
          <a:xfrm>
            <a:off x="2783737" y="2293933"/>
            <a:ext cx="3526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Lake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lytic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9" name="TextBox 988">
            <a:extLst>
              <a:ext uri="{FF2B5EF4-FFF2-40B4-BE49-F238E27FC236}">
                <a16:creationId xmlns:a16="http://schemas.microsoft.com/office/drawing/2014/main" id="{2F72594B-2D59-4567-8462-54CD3079E410}"/>
              </a:ext>
            </a:extLst>
          </p:cNvPr>
          <p:cNvSpPr txBox="1"/>
          <p:nvPr/>
        </p:nvSpPr>
        <p:spPr>
          <a:xfrm>
            <a:off x="6672159" y="2293933"/>
            <a:ext cx="3782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Lak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e Gen2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0" name="TextBox 989">
            <a:extLst>
              <a:ext uri="{FF2B5EF4-FFF2-40B4-BE49-F238E27FC236}">
                <a16:creationId xmlns:a16="http://schemas.microsoft.com/office/drawing/2014/main" id="{D7CAE101-87B5-452D-B5A9-585C83F31353}"/>
              </a:ext>
            </a:extLst>
          </p:cNvPr>
          <p:cNvSpPr txBox="1"/>
          <p:nvPr/>
        </p:nvSpPr>
        <p:spPr>
          <a:xfrm>
            <a:off x="7324236" y="2293933"/>
            <a:ext cx="3782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Lak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ore Gen1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1" name="TextBox 990">
            <a:extLst>
              <a:ext uri="{FF2B5EF4-FFF2-40B4-BE49-F238E27FC236}">
                <a16:creationId xmlns:a16="http://schemas.microsoft.com/office/drawing/2014/main" id="{65F9E6EF-9EDD-4128-85DD-B3E4A22B30E3}"/>
              </a:ext>
            </a:extLst>
          </p:cNvPr>
          <p:cNvSpPr txBox="1"/>
          <p:nvPr/>
        </p:nvSpPr>
        <p:spPr>
          <a:xfrm>
            <a:off x="3410171" y="2293933"/>
            <a:ext cx="3638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wer BI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bedded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2" name="TextBox 991">
            <a:extLst>
              <a:ext uri="{FF2B5EF4-FFF2-40B4-BE49-F238E27FC236}">
                <a16:creationId xmlns:a16="http://schemas.microsoft.com/office/drawing/2014/main" id="{73718FA2-45FD-4F63-8881-AB61572D082F}"/>
              </a:ext>
            </a:extLst>
          </p:cNvPr>
          <p:cNvSpPr txBox="1"/>
          <p:nvPr/>
        </p:nvSpPr>
        <p:spPr>
          <a:xfrm>
            <a:off x="6004054" y="2293933"/>
            <a:ext cx="3942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lor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3" name="TextBox 992">
            <a:extLst>
              <a:ext uri="{FF2B5EF4-FFF2-40B4-BE49-F238E27FC236}">
                <a16:creationId xmlns:a16="http://schemas.microsoft.com/office/drawing/2014/main" id="{1F043A4C-9D4A-406C-8C89-8CF1ADD0409E}"/>
              </a:ext>
            </a:extLst>
          </p:cNvPr>
          <p:cNvSpPr txBox="1"/>
          <p:nvPr/>
        </p:nvSpPr>
        <p:spPr>
          <a:xfrm>
            <a:off x="7976314" y="2293933"/>
            <a:ext cx="48403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ache Spark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HDInsigh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4" name="TextBox 993">
            <a:extLst>
              <a:ext uri="{FF2B5EF4-FFF2-40B4-BE49-F238E27FC236}">
                <a16:creationId xmlns:a16="http://schemas.microsoft.com/office/drawing/2014/main" id="{52CED48A-5A45-4E29-8B57-F3036BBD69CC}"/>
              </a:ext>
            </a:extLst>
          </p:cNvPr>
          <p:cNvSpPr txBox="1"/>
          <p:nvPr/>
        </p:nvSpPr>
        <p:spPr>
          <a:xfrm>
            <a:off x="8734174" y="2293933"/>
            <a:ext cx="49846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ache Storm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HDInsigh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5" name="TextBox 994">
            <a:extLst>
              <a:ext uri="{FF2B5EF4-FFF2-40B4-BE49-F238E27FC236}">
                <a16:creationId xmlns:a16="http://schemas.microsoft.com/office/drawing/2014/main" id="{D7EA276F-3186-4E28-8DC9-1A9500C30C39}"/>
              </a:ext>
            </a:extLst>
          </p:cNvPr>
          <p:cNvSpPr txBox="1"/>
          <p:nvPr/>
        </p:nvSpPr>
        <p:spPr>
          <a:xfrm>
            <a:off x="9506459" y="2293933"/>
            <a:ext cx="45518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 Server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HDInsigh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6" name="TextBox 995">
            <a:extLst>
              <a:ext uri="{FF2B5EF4-FFF2-40B4-BE49-F238E27FC236}">
                <a16:creationId xmlns:a16="http://schemas.microsoft.com/office/drawing/2014/main" id="{8DBEDCD7-C051-4EC0-A1CB-0ACBDDE34FB9}"/>
              </a:ext>
            </a:extLst>
          </p:cNvPr>
          <p:cNvSpPr txBox="1"/>
          <p:nvPr/>
        </p:nvSpPr>
        <p:spPr>
          <a:xfrm>
            <a:off x="10181229" y="2293933"/>
            <a:ext cx="29971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7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lytic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7" name="TextBox 996">
            <a:extLst>
              <a:ext uri="{FF2B5EF4-FFF2-40B4-BE49-F238E27FC236}">
                <a16:creationId xmlns:a16="http://schemas.microsoft.com/office/drawing/2014/main" id="{2897B86E-A686-40D3-B186-E7C894EF6132}"/>
              </a:ext>
            </a:extLst>
          </p:cNvPr>
          <p:cNvSpPr txBox="1"/>
          <p:nvPr/>
        </p:nvSpPr>
        <p:spPr>
          <a:xfrm>
            <a:off x="10673391" y="2293933"/>
            <a:ext cx="259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8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8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alog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8" name="TextBox 997">
            <a:extLst>
              <a:ext uri="{FF2B5EF4-FFF2-40B4-BE49-F238E27FC236}">
                <a16:creationId xmlns:a16="http://schemas.microsoft.com/office/drawing/2014/main" id="{4DB4A341-311A-4AE9-96CB-04530C92A0CE}"/>
              </a:ext>
            </a:extLst>
          </p:cNvPr>
          <p:cNvSpPr txBox="1"/>
          <p:nvPr/>
        </p:nvSpPr>
        <p:spPr>
          <a:xfrm>
            <a:off x="11200751" y="2293933"/>
            <a:ext cx="28689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4940">
              <a:lnSpc>
                <a:spcPct val="90000"/>
              </a:lnSpc>
              <a:defRPr sz="500"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18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set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94B0FA63-717B-4F23-8F54-D9EA6FB30890}"/>
              </a:ext>
            </a:extLst>
          </p:cNvPr>
          <p:cNvSpPr txBox="1"/>
          <p:nvPr/>
        </p:nvSpPr>
        <p:spPr>
          <a:xfrm>
            <a:off x="991388" y="2847985"/>
            <a:ext cx="39748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EF55BA67-E0B5-4894-8018-49DAB5E7C1BF}"/>
              </a:ext>
            </a:extLst>
          </p:cNvPr>
          <p:cNvSpPr txBox="1"/>
          <p:nvPr/>
        </p:nvSpPr>
        <p:spPr>
          <a:xfrm>
            <a:off x="1765939" y="2847985"/>
            <a:ext cx="2901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nt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F20AB62A-F583-4A4F-A7B1-8179126EBDEF}"/>
              </a:ext>
            </a:extLst>
          </p:cNvPr>
          <p:cNvSpPr txBox="1"/>
          <p:nvPr/>
        </p:nvSpPr>
        <p:spPr>
          <a:xfrm>
            <a:off x="2432684" y="2847985"/>
            <a:ext cx="1747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e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ul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E5F4FD02-BEF3-4F1C-9330-E723EE6E39AF}"/>
              </a:ext>
            </a:extLst>
          </p:cNvPr>
          <p:cNvSpPr txBox="1"/>
          <p:nvPr/>
        </p:nvSpPr>
        <p:spPr>
          <a:xfrm>
            <a:off x="2984868" y="2847985"/>
            <a:ext cx="52891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dicated HSM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ED284B37-B651-4439-B5FE-F6170E569790}"/>
              </a:ext>
            </a:extLst>
          </p:cNvPr>
          <p:cNvSpPr txBox="1"/>
          <p:nvPr/>
        </p:nvSpPr>
        <p:spPr>
          <a:xfrm>
            <a:off x="3890847" y="2847985"/>
            <a:ext cx="4327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DoS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tec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B468EF61-3533-4176-9EF5-84088B19F4C0}"/>
              </a:ext>
            </a:extLst>
          </p:cNvPr>
          <p:cNvSpPr txBox="1"/>
          <p:nvPr/>
        </p:nvSpPr>
        <p:spPr>
          <a:xfrm>
            <a:off x="4700659" y="2847985"/>
            <a:ext cx="58661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dvanced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reat protec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C22D7C68-66A3-490C-9D97-AA9BBDB7795E}"/>
              </a:ext>
            </a:extLst>
          </p:cNvPr>
          <p:cNvSpPr txBox="1"/>
          <p:nvPr/>
        </p:nvSpPr>
        <p:spPr>
          <a:xfrm>
            <a:off x="5664337" y="2847985"/>
            <a:ext cx="6346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Informa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tec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565DF7B0-DFF2-4813-9187-2018240F538E}"/>
              </a:ext>
            </a:extLst>
          </p:cNvPr>
          <p:cNvSpPr txBox="1"/>
          <p:nvPr/>
        </p:nvSpPr>
        <p:spPr>
          <a:xfrm>
            <a:off x="6676098" y="2847985"/>
            <a:ext cx="4439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ctiv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8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recto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D29D59B2-229F-406E-8978-DF224E2606D4}"/>
              </a:ext>
            </a:extLst>
          </p:cNvPr>
          <p:cNvSpPr txBox="1"/>
          <p:nvPr/>
        </p:nvSpPr>
        <p:spPr>
          <a:xfrm>
            <a:off x="7497128" y="2847985"/>
            <a:ext cx="77574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ctive Director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Domain 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AAB58ACA-4ABE-46EE-8843-E8AC63F9888F}"/>
              </a:ext>
            </a:extLst>
          </p:cNvPr>
          <p:cNvSpPr txBox="1"/>
          <p:nvPr/>
        </p:nvSpPr>
        <p:spPr>
          <a:xfrm>
            <a:off x="8649933" y="2847985"/>
            <a:ext cx="40550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ica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atewa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BB952113-C303-42C6-B7F2-E32E7ABEB2E4}"/>
              </a:ext>
            </a:extLst>
          </p:cNvPr>
          <p:cNvSpPr txBox="1"/>
          <p:nvPr/>
        </p:nvSpPr>
        <p:spPr>
          <a:xfrm>
            <a:off x="9432500" y="2847985"/>
            <a:ext cx="288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PN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atewa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AFA7FCC5-6C86-4B3A-9B34-D50F8924BDB2}"/>
              </a:ext>
            </a:extLst>
          </p:cNvPr>
          <p:cNvSpPr txBox="1"/>
          <p:nvPr/>
        </p:nvSpPr>
        <p:spPr>
          <a:xfrm>
            <a:off x="10098062" y="2847985"/>
            <a:ext cx="49846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le-based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cess Control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A8FB20D3-150B-4BEC-A10F-8C83473F136D}"/>
              </a:ext>
            </a:extLst>
          </p:cNvPr>
          <p:cNvSpPr txBox="1"/>
          <p:nvPr/>
        </p:nvSpPr>
        <p:spPr>
          <a:xfrm>
            <a:off x="10973588" y="2847985"/>
            <a:ext cx="27247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ntinel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15A61560-8B27-4063-B778-C9AFCEBEA4DD}"/>
              </a:ext>
            </a:extLst>
          </p:cNvPr>
          <p:cNvSpPr txBox="1"/>
          <p:nvPr/>
        </p:nvSpPr>
        <p:spPr>
          <a:xfrm>
            <a:off x="11623117" y="2847985"/>
            <a:ext cx="5064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Security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nter for Io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C7C5091E-73ED-4C68-9272-83CC9A2E86F9}"/>
              </a:ext>
            </a:extLst>
          </p:cNvPr>
          <p:cNvSpPr txBox="1"/>
          <p:nvPr/>
        </p:nvSpPr>
        <p:spPr>
          <a:xfrm>
            <a:off x="2170003" y="3370042"/>
            <a:ext cx="5241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67268108-1E56-4B21-B4FF-264C4FE28ED9}"/>
              </a:ext>
            </a:extLst>
          </p:cNvPr>
          <p:cNvSpPr txBox="1"/>
          <p:nvPr/>
        </p:nvSpPr>
        <p:spPr>
          <a:xfrm>
            <a:off x="1385742" y="3370042"/>
            <a:ext cx="294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Bot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BB85062C-4228-49DB-AA54-E8A5460C8C15}"/>
              </a:ext>
            </a:extLst>
          </p:cNvPr>
          <p:cNvSpPr txBox="1"/>
          <p:nvPr/>
        </p:nvSpPr>
        <p:spPr>
          <a:xfrm>
            <a:off x="3345344" y="3370042"/>
            <a:ext cx="2885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gnitive </a:t>
            </a:r>
          </a:p>
          <a:p>
            <a:pPr marL="0" marR="0" lvl="0" indent="0" algn="just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01A5D49B-02D9-4167-8F29-69DFAAA9DD8D}"/>
              </a:ext>
            </a:extLst>
          </p:cNvPr>
          <p:cNvSpPr txBox="1"/>
          <p:nvPr/>
        </p:nvSpPr>
        <p:spPr>
          <a:xfrm>
            <a:off x="991388" y="3370042"/>
            <a:ext cx="296513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6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brick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A82D93B4-3EA6-43DF-8607-D41A9C9DF59B}"/>
              </a:ext>
            </a:extLst>
          </p:cNvPr>
          <p:cNvSpPr txBox="1"/>
          <p:nvPr/>
        </p:nvSpPr>
        <p:spPr>
          <a:xfrm>
            <a:off x="2785179" y="3370042"/>
            <a:ext cx="448777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19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ing Studio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6144AFDB-648B-48AE-A2BD-5D74E7B8542C}"/>
              </a:ext>
            </a:extLst>
          </p:cNvPr>
          <p:cNvSpPr txBox="1"/>
          <p:nvPr/>
        </p:nvSpPr>
        <p:spPr>
          <a:xfrm>
            <a:off x="1785265" y="3370042"/>
            <a:ext cx="28689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nomic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14AB6844-E395-4F91-853F-B418BBCD8FBC}"/>
              </a:ext>
            </a:extLst>
          </p:cNvPr>
          <p:cNvSpPr txBox="1"/>
          <p:nvPr/>
        </p:nvSpPr>
        <p:spPr>
          <a:xfrm>
            <a:off x="3758776" y="3370042"/>
            <a:ext cx="312542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ebook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74332B7C-6EEF-43ED-BB66-AE107677597E}"/>
              </a:ext>
            </a:extLst>
          </p:cNvPr>
          <p:cNvSpPr txBox="1"/>
          <p:nvPr/>
        </p:nvSpPr>
        <p:spPr>
          <a:xfrm>
            <a:off x="4189476" y="3370042"/>
            <a:ext cx="18752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arch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92C76F8E-4D7D-473A-9254-48D88EFEE0B8}"/>
              </a:ext>
            </a:extLst>
          </p:cNvPr>
          <p:cNvSpPr txBox="1"/>
          <p:nvPr/>
        </p:nvSpPr>
        <p:spPr>
          <a:xfrm>
            <a:off x="4535801" y="3370042"/>
            <a:ext cx="3029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ut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sion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CDBDB25-13C1-43B8-AE14-299B784611F9}"/>
              </a:ext>
            </a:extLst>
          </p:cNvPr>
          <p:cNvSpPr txBox="1"/>
          <p:nvPr/>
        </p:nvSpPr>
        <p:spPr>
          <a:xfrm>
            <a:off x="4970430" y="3370042"/>
            <a:ext cx="302924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ent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erato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D609B045-87C2-4B65-92E7-DE2ECDDE4020}"/>
              </a:ext>
            </a:extLst>
          </p:cNvPr>
          <p:cNvSpPr txBox="1"/>
          <p:nvPr/>
        </p:nvSpPr>
        <p:spPr>
          <a:xfrm>
            <a:off x="5438925" y="3370042"/>
            <a:ext cx="389474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sion 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6822B99B-B185-4200-BF29-7432721C4C8C}"/>
              </a:ext>
            </a:extLst>
          </p:cNvPr>
          <p:cNvSpPr txBox="1"/>
          <p:nvPr/>
        </p:nvSpPr>
        <p:spPr>
          <a:xfrm>
            <a:off x="6021061" y="3370042"/>
            <a:ext cx="25323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o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8942E663-F191-4022-97F0-672E1E3E38A5}"/>
              </a:ext>
            </a:extLst>
          </p:cNvPr>
          <p:cNvSpPr txBox="1"/>
          <p:nvPr/>
        </p:nvSpPr>
        <p:spPr>
          <a:xfrm>
            <a:off x="6466962" y="3370042"/>
            <a:ext cx="126619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ce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B7BEECF0-AF90-48A1-95F4-0C7A615F2692}"/>
              </a:ext>
            </a:extLst>
          </p:cNvPr>
          <p:cNvSpPr txBox="1"/>
          <p:nvPr/>
        </p:nvSpPr>
        <p:spPr>
          <a:xfrm>
            <a:off x="6786243" y="3370042"/>
            <a:ext cx="21156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dex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A1225E60-694A-4E66-AFAF-D1229573D0E7}"/>
              </a:ext>
            </a:extLst>
          </p:cNvPr>
          <p:cNvSpPr txBox="1"/>
          <p:nvPr/>
        </p:nvSpPr>
        <p:spPr>
          <a:xfrm>
            <a:off x="7190471" y="3370042"/>
            <a:ext cx="22278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ech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0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ECB1BC9A-0F89-4242-9CF0-3ADB1976D079}"/>
              </a:ext>
            </a:extLst>
          </p:cNvPr>
          <p:cNvSpPr txBox="1"/>
          <p:nvPr/>
        </p:nvSpPr>
        <p:spPr>
          <a:xfrm>
            <a:off x="7605922" y="3370042"/>
            <a:ext cx="205155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ech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4B57CB38-A044-4EA8-9041-2AF79D8B027B}"/>
              </a:ext>
            </a:extLst>
          </p:cNvPr>
          <p:cNvSpPr txBox="1"/>
          <p:nvPr/>
        </p:nvSpPr>
        <p:spPr>
          <a:xfrm>
            <a:off x="8003740" y="3370042"/>
            <a:ext cx="421530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ech 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E28CD45C-A0CA-4F21-9555-166FC01CF2BE}"/>
              </a:ext>
            </a:extLst>
          </p:cNvPr>
          <p:cNvSpPr txBox="1"/>
          <p:nvPr/>
        </p:nvSpPr>
        <p:spPr>
          <a:xfrm>
            <a:off x="8617932" y="3370042"/>
            <a:ext cx="453585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ak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gnition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7DB37528-099E-4E0B-A225-F8FF6AE2C887}"/>
              </a:ext>
            </a:extLst>
          </p:cNvPr>
          <p:cNvSpPr txBox="1"/>
          <p:nvPr/>
        </p:nvSpPr>
        <p:spPr>
          <a:xfrm>
            <a:off x="9264180" y="3370042"/>
            <a:ext cx="317350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lato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eech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AD357E22-A0DA-425A-9E9B-236865A9654C}"/>
              </a:ext>
            </a:extLst>
          </p:cNvPr>
          <p:cNvSpPr txBox="1"/>
          <p:nvPr/>
        </p:nvSpPr>
        <p:spPr>
          <a:xfrm>
            <a:off x="9774193" y="3370042"/>
            <a:ext cx="30132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ng Spell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eck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34AE4A89-3A45-4F57-AAB3-9606D66F15A7}"/>
              </a:ext>
            </a:extLst>
          </p:cNvPr>
          <p:cNvSpPr txBox="1"/>
          <p:nvPr/>
        </p:nvSpPr>
        <p:spPr>
          <a:xfrm>
            <a:off x="10268176" y="3370042"/>
            <a:ext cx="604247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nguag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derstanding (LUIS)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60384D19-2C32-4F10-AC4D-A8418E2F6F25}"/>
              </a:ext>
            </a:extLst>
          </p:cNvPr>
          <p:cNvSpPr txBox="1"/>
          <p:nvPr/>
        </p:nvSpPr>
        <p:spPr>
          <a:xfrm>
            <a:off x="11065094" y="3370042"/>
            <a:ext cx="339789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guistic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lysis AP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6FC10646-C923-4943-AEF1-6E22909E98BB}"/>
              </a:ext>
            </a:extLst>
          </p:cNvPr>
          <p:cNvSpPr txBox="1"/>
          <p:nvPr/>
        </p:nvSpPr>
        <p:spPr>
          <a:xfrm>
            <a:off x="991387" y="4388090"/>
            <a:ext cx="198744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2563A5D9-BD37-4123-9494-7C45BC4A4AE8}"/>
              </a:ext>
            </a:extLst>
          </p:cNvPr>
          <p:cNvSpPr txBox="1"/>
          <p:nvPr/>
        </p:nvSpPr>
        <p:spPr>
          <a:xfrm>
            <a:off x="1358507" y="4388089"/>
            <a:ext cx="157071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3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tch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BE44DFE8-AC5F-49F3-A939-3DF1C322980A}"/>
              </a:ext>
            </a:extLst>
          </p:cNvPr>
          <p:cNvSpPr txBox="1"/>
          <p:nvPr/>
        </p:nvSpPr>
        <p:spPr>
          <a:xfrm>
            <a:off x="1683954" y="4388090"/>
            <a:ext cx="294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in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C6C52B32-0AC1-4256-BD66-C16806B7CB03}"/>
              </a:ext>
            </a:extLst>
          </p:cNvPr>
          <p:cNvSpPr txBox="1"/>
          <p:nvPr/>
        </p:nvSpPr>
        <p:spPr>
          <a:xfrm>
            <a:off x="2147241" y="4388090"/>
            <a:ext cx="294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in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an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04C8ECE6-B889-442A-8244-95D26ECB0E1D}"/>
              </a:ext>
            </a:extLst>
          </p:cNvPr>
          <p:cNvSpPr txBox="1"/>
          <p:nvPr/>
        </p:nvSpPr>
        <p:spPr>
          <a:xfrm>
            <a:off x="2610525" y="4388090"/>
            <a:ext cx="198744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bric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6677B5D1-533A-45AA-8089-CC8D901AC86C}"/>
              </a:ext>
            </a:extLst>
          </p:cNvPr>
          <p:cNvSpPr txBox="1"/>
          <p:nvPr/>
        </p:nvSpPr>
        <p:spPr>
          <a:xfrm>
            <a:off x="2977645" y="4388090"/>
            <a:ext cx="5209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Kubernetes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61CCA7F2-DB43-404A-B721-2CD639DE2EAE}"/>
              </a:ext>
            </a:extLst>
          </p:cNvPr>
          <p:cNvSpPr txBox="1"/>
          <p:nvPr/>
        </p:nvSpPr>
        <p:spPr>
          <a:xfrm>
            <a:off x="5329073" y="4388090"/>
            <a:ext cx="22278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vO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D089F406-353C-484E-A318-3DC280667D79}"/>
              </a:ext>
            </a:extLst>
          </p:cNvPr>
          <p:cNvSpPr txBox="1"/>
          <p:nvPr/>
        </p:nvSpPr>
        <p:spPr>
          <a:xfrm>
            <a:off x="5681340" y="4388090"/>
            <a:ext cx="3413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icatio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ight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15209130-7AD2-4434-B39C-6FB499C9C5F6}"/>
              </a:ext>
            </a:extLst>
          </p:cNvPr>
          <p:cNvSpPr txBox="1"/>
          <p:nvPr/>
        </p:nvSpPr>
        <p:spPr>
          <a:xfrm>
            <a:off x="6152211" y="4388090"/>
            <a:ext cx="29971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Lab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2CD459FF-2264-4730-867D-0E0E62F5B98C}"/>
              </a:ext>
            </a:extLst>
          </p:cNvPr>
          <p:cNvSpPr txBox="1"/>
          <p:nvPr/>
        </p:nvSpPr>
        <p:spPr>
          <a:xfrm>
            <a:off x="6581413" y="4388090"/>
            <a:ext cx="2275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S App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nt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28153455-4082-49F0-80EA-B21BCB98CC5E}"/>
              </a:ext>
            </a:extLst>
          </p:cNvPr>
          <p:cNvSpPr txBox="1"/>
          <p:nvPr/>
        </p:nvSpPr>
        <p:spPr>
          <a:xfrm>
            <a:off x="6938488" y="4388090"/>
            <a:ext cx="4760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veloper Tools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gration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217754FC-C363-4DB5-AAB2-6FCAB957F926}"/>
              </a:ext>
            </a:extLst>
          </p:cNvPr>
          <p:cNvSpPr txBox="1"/>
          <p:nvPr/>
        </p:nvSpPr>
        <p:spPr>
          <a:xfrm>
            <a:off x="7543993" y="4388089"/>
            <a:ext cx="325364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ckeyApp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B9D22123-7BE3-4A38-AA16-A88D190956B1}"/>
              </a:ext>
            </a:extLst>
          </p:cNvPr>
          <p:cNvSpPr txBox="1"/>
          <p:nvPr/>
        </p:nvSpPr>
        <p:spPr>
          <a:xfrm>
            <a:off x="7998838" y="4388090"/>
            <a:ext cx="4215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evOps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ct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FCA47B7C-D0F1-4C3D-A4BB-5459489C1EB1}"/>
              </a:ext>
            </a:extLst>
          </p:cNvPr>
          <p:cNvSpPr txBox="1"/>
          <p:nvPr/>
        </p:nvSpPr>
        <p:spPr>
          <a:xfrm>
            <a:off x="9192424" y="4388090"/>
            <a:ext cx="18592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sual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udio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63930C60-ACBD-4CE1-AAF6-6E8B8F51C642}"/>
              </a:ext>
            </a:extLst>
          </p:cNvPr>
          <p:cNvSpPr txBox="1"/>
          <p:nvPr/>
        </p:nvSpPr>
        <p:spPr>
          <a:xfrm>
            <a:off x="9454615" y="4388090"/>
            <a:ext cx="22278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vO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3070FCC4-02A7-49B4-941A-99BB6F8E6691}"/>
              </a:ext>
            </a:extLst>
          </p:cNvPr>
          <p:cNvSpPr txBox="1"/>
          <p:nvPr/>
        </p:nvSpPr>
        <p:spPr>
          <a:xfrm>
            <a:off x="9742466" y="4388090"/>
            <a:ext cx="351008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sual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udio Cod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43BB4E72-B2A3-44B4-A731-C7B79E59AF96}"/>
              </a:ext>
            </a:extLst>
          </p:cNvPr>
          <p:cNvSpPr txBox="1"/>
          <p:nvPr/>
        </p:nvSpPr>
        <p:spPr>
          <a:xfrm>
            <a:off x="10166473" y="4388089"/>
            <a:ext cx="165139" cy="69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K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8352BEFA-A3D5-4622-8511-501B5069A476}"/>
              </a:ext>
            </a:extLst>
          </p:cNvPr>
          <p:cNvSpPr txBox="1"/>
          <p:nvPr/>
        </p:nvSpPr>
        <p:spPr>
          <a:xfrm>
            <a:off x="10415207" y="4388090"/>
            <a:ext cx="51128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velope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ols Integration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F6C2BC41-620E-4C8A-A72F-4FEA91220DC5}"/>
              </a:ext>
            </a:extLst>
          </p:cNvPr>
          <p:cNvSpPr txBox="1"/>
          <p:nvPr/>
        </p:nvSpPr>
        <p:spPr>
          <a:xfrm>
            <a:off x="11039274" y="4388089"/>
            <a:ext cx="88153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0C8EB5B0-C8F6-476A-8A93-D9B2AA2F9114}"/>
              </a:ext>
            </a:extLst>
          </p:cNvPr>
          <p:cNvSpPr txBox="1"/>
          <p:nvPr/>
        </p:nvSpPr>
        <p:spPr>
          <a:xfrm>
            <a:off x="3666922" y="4388090"/>
            <a:ext cx="38306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 App for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iner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B7368CA6-4D3D-422E-AD48-4637CCEDBEA6}"/>
              </a:ext>
            </a:extLst>
          </p:cNvPr>
          <p:cNvSpPr txBox="1"/>
          <p:nvPr/>
        </p:nvSpPr>
        <p:spPr>
          <a:xfrm>
            <a:off x="4218361" y="4388090"/>
            <a:ext cx="30773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ev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84002FC6-9373-4D09-ABFE-4C77F4FF1072}"/>
              </a:ext>
            </a:extLst>
          </p:cNvPr>
          <p:cNvSpPr txBox="1"/>
          <p:nvPr/>
        </p:nvSpPr>
        <p:spPr>
          <a:xfrm>
            <a:off x="11298317" y="4388090"/>
            <a:ext cx="325363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ockchain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rkbench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1BF22B0B-547D-4A4C-8BB6-7FD66EE01B7A}"/>
              </a:ext>
            </a:extLst>
          </p:cNvPr>
          <p:cNvSpPr/>
          <p:nvPr/>
        </p:nvSpPr>
        <p:spPr bwMode="auto">
          <a:xfrm>
            <a:off x="4578661" y="4010598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DevOps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2A1CF3A5-31D7-4E1D-8453-7AB46EA1903A}"/>
              </a:ext>
            </a:extLst>
          </p:cNvPr>
          <p:cNvSpPr/>
          <p:nvPr/>
        </p:nvSpPr>
        <p:spPr bwMode="auto">
          <a:xfrm>
            <a:off x="8501975" y="4010598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Developer Tools</a:t>
            </a:r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974968AB-E534-4EDE-9826-7CBB4C711FF9}"/>
              </a:ext>
            </a:extLst>
          </p:cNvPr>
          <p:cNvCxnSpPr>
            <a:cxnSpLocks/>
          </p:cNvCxnSpPr>
          <p:nvPr/>
        </p:nvCxnSpPr>
        <p:spPr>
          <a:xfrm flipH="1">
            <a:off x="951960" y="777552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DA9B939E-F5F1-400F-94F7-390910CF4686}"/>
              </a:ext>
            </a:extLst>
          </p:cNvPr>
          <p:cNvCxnSpPr>
            <a:cxnSpLocks/>
          </p:cNvCxnSpPr>
          <p:nvPr/>
        </p:nvCxnSpPr>
        <p:spPr>
          <a:xfrm flipH="1">
            <a:off x="951960" y="1346310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5B7F44B-1FB7-4B0A-B94D-BB1BD85591DB}"/>
              </a:ext>
            </a:extLst>
          </p:cNvPr>
          <p:cNvCxnSpPr>
            <a:cxnSpLocks/>
          </p:cNvCxnSpPr>
          <p:nvPr/>
        </p:nvCxnSpPr>
        <p:spPr>
          <a:xfrm flipH="1">
            <a:off x="951960" y="1915068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C909C955-4C29-4E04-81AA-04FE03B2A599}"/>
              </a:ext>
            </a:extLst>
          </p:cNvPr>
          <p:cNvCxnSpPr>
            <a:cxnSpLocks/>
          </p:cNvCxnSpPr>
          <p:nvPr/>
        </p:nvCxnSpPr>
        <p:spPr>
          <a:xfrm flipH="1">
            <a:off x="951960" y="2483827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705CBC78-55EF-4B5B-B440-1D08711BB90D}"/>
              </a:ext>
            </a:extLst>
          </p:cNvPr>
          <p:cNvCxnSpPr>
            <a:cxnSpLocks/>
          </p:cNvCxnSpPr>
          <p:nvPr/>
        </p:nvCxnSpPr>
        <p:spPr>
          <a:xfrm flipH="1">
            <a:off x="951960" y="3052585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ABC49DA8-C5D5-4E85-A18F-F8397AA42990}"/>
              </a:ext>
            </a:extLst>
          </p:cNvPr>
          <p:cNvCxnSpPr>
            <a:cxnSpLocks/>
          </p:cNvCxnSpPr>
          <p:nvPr/>
        </p:nvCxnSpPr>
        <p:spPr>
          <a:xfrm flipH="1">
            <a:off x="951960" y="4010598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09377E09-4C40-484B-A8B7-345EB91ECE40}"/>
              </a:ext>
            </a:extLst>
          </p:cNvPr>
          <p:cNvCxnSpPr>
            <a:cxnSpLocks/>
          </p:cNvCxnSpPr>
          <p:nvPr/>
        </p:nvCxnSpPr>
        <p:spPr>
          <a:xfrm flipH="1">
            <a:off x="951960" y="5148116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332C09C8-AFFF-4903-BFF9-1EC4DB3A657A}"/>
              </a:ext>
            </a:extLst>
          </p:cNvPr>
          <p:cNvCxnSpPr>
            <a:cxnSpLocks/>
          </p:cNvCxnSpPr>
          <p:nvPr/>
        </p:nvCxnSpPr>
        <p:spPr>
          <a:xfrm flipH="1">
            <a:off x="951960" y="5716875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BC36AC5C-6AB7-4C4C-BFE0-DFD2F62BAD6E}"/>
              </a:ext>
            </a:extLst>
          </p:cNvPr>
          <p:cNvCxnSpPr>
            <a:cxnSpLocks/>
          </p:cNvCxnSpPr>
          <p:nvPr/>
        </p:nvCxnSpPr>
        <p:spPr>
          <a:xfrm flipH="1">
            <a:off x="951960" y="6285635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TextBox 363">
            <a:extLst>
              <a:ext uri="{FF2B5EF4-FFF2-40B4-BE49-F238E27FC236}">
                <a16:creationId xmlns:a16="http://schemas.microsoft.com/office/drawing/2014/main" id="{CBA6556A-D1CC-4FBA-AEA3-050BB3E0D6B7}"/>
              </a:ext>
            </a:extLst>
          </p:cNvPr>
          <p:cNvSpPr txBox="1"/>
          <p:nvPr/>
        </p:nvSpPr>
        <p:spPr>
          <a:xfrm>
            <a:off x="991388" y="4911770"/>
            <a:ext cx="42499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ctive Directo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40C40AA8-4837-4836-9047-BFEA79ED5B44}"/>
              </a:ext>
            </a:extLst>
          </p:cNvPr>
          <p:cNvSpPr txBox="1"/>
          <p:nvPr/>
        </p:nvSpPr>
        <p:spPr>
          <a:xfrm>
            <a:off x="1572044" y="4911770"/>
            <a:ext cx="5133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lti-Factor Authentica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5E202CA2-2671-4F92-95FE-76F57E67ED76}"/>
              </a:ext>
            </a:extLst>
          </p:cNvPr>
          <p:cNvSpPr txBox="1"/>
          <p:nvPr/>
        </p:nvSpPr>
        <p:spPr>
          <a:xfrm>
            <a:off x="2241092" y="4911770"/>
            <a:ext cx="40456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Information protec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61E2F220-A754-4493-A2D4-1C9F3E6FCB51}"/>
              </a:ext>
            </a:extLst>
          </p:cNvPr>
          <p:cNvSpPr txBox="1"/>
          <p:nvPr/>
        </p:nvSpPr>
        <p:spPr>
          <a:xfrm>
            <a:off x="2801321" y="4911770"/>
            <a:ext cx="5388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ctive Directory for Domain 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21FC9D77-E5CA-4E06-B04D-8F28014FA597}"/>
              </a:ext>
            </a:extLst>
          </p:cNvPr>
          <p:cNvSpPr txBox="1"/>
          <p:nvPr/>
        </p:nvSpPr>
        <p:spPr>
          <a:xfrm>
            <a:off x="3495868" y="4911770"/>
            <a:ext cx="4521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Active Directory B2C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F14B707F-5984-4592-80BB-8CC0D6F82FD2}"/>
              </a:ext>
            </a:extLst>
          </p:cNvPr>
          <p:cNvSpPr txBox="1"/>
          <p:nvPr/>
        </p:nvSpPr>
        <p:spPr>
          <a:xfrm>
            <a:off x="4103719" y="4911770"/>
            <a:ext cx="39250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 Informa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69B8C5B1-0119-428F-911D-26D07B696013}"/>
              </a:ext>
            </a:extLst>
          </p:cNvPr>
          <p:cNvSpPr txBox="1"/>
          <p:nvPr/>
        </p:nvSpPr>
        <p:spPr>
          <a:xfrm>
            <a:off x="5335005" y="4911770"/>
            <a:ext cx="4525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9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 Managemen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11FA78CD-7D7F-407A-A251-EE0B55994B82}"/>
              </a:ext>
            </a:extLst>
          </p:cNvPr>
          <p:cNvSpPr txBox="1"/>
          <p:nvPr/>
        </p:nvSpPr>
        <p:spPr>
          <a:xfrm>
            <a:off x="5967948" y="4911770"/>
            <a:ext cx="2693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rvice Bu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ECA140F8-9A5E-4009-A50B-E3612718CB86}"/>
              </a:ext>
            </a:extLst>
          </p:cNvPr>
          <p:cNvSpPr txBox="1"/>
          <p:nvPr/>
        </p:nvSpPr>
        <p:spPr>
          <a:xfrm>
            <a:off x="6417777" y="4911770"/>
            <a:ext cx="2693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ic App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586C7404-456C-4512-89FF-6344285F782B}"/>
              </a:ext>
            </a:extLst>
          </p:cNvPr>
          <p:cNvSpPr txBox="1"/>
          <p:nvPr/>
        </p:nvSpPr>
        <p:spPr>
          <a:xfrm>
            <a:off x="6867606" y="4911770"/>
            <a:ext cx="2693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 Grid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F417329B-23C1-457F-AD40-19046AA71180}"/>
              </a:ext>
            </a:extLst>
          </p:cNvPr>
          <p:cNvSpPr txBox="1"/>
          <p:nvPr/>
        </p:nvSpPr>
        <p:spPr>
          <a:xfrm>
            <a:off x="8038965" y="4911770"/>
            <a:ext cx="3239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dia Service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7ECB5A6A-E544-4764-B62F-152CA845C9A5}"/>
              </a:ext>
            </a:extLst>
          </p:cNvPr>
          <p:cNvSpPr txBox="1"/>
          <p:nvPr/>
        </p:nvSpPr>
        <p:spPr>
          <a:xfrm>
            <a:off x="8600872" y="4911768"/>
            <a:ext cx="323936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coding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35B3CCED-DCAE-4EA7-A575-6266437AB14D}"/>
              </a:ext>
            </a:extLst>
          </p:cNvPr>
          <p:cNvSpPr txBox="1"/>
          <p:nvPr/>
        </p:nvSpPr>
        <p:spPr>
          <a:xfrm>
            <a:off x="9162781" y="4911770"/>
            <a:ext cx="5749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ve &amp; On-Demand Streaming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8829F7A2-51D3-4264-8519-4561C26E3541}"/>
              </a:ext>
            </a:extLst>
          </p:cNvPr>
          <p:cNvSpPr txBox="1"/>
          <p:nvPr/>
        </p:nvSpPr>
        <p:spPr>
          <a:xfrm>
            <a:off x="9975672" y="4911770"/>
            <a:ext cx="4253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Media Play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6051B02E-2934-429E-B6D6-D7871A5C79C1}"/>
              </a:ext>
            </a:extLst>
          </p:cNvPr>
          <p:cNvSpPr txBox="1"/>
          <p:nvPr/>
        </p:nvSpPr>
        <p:spPr>
          <a:xfrm>
            <a:off x="10638953" y="4911770"/>
            <a:ext cx="3668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ent Protection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E43AAE53-0686-47BF-8AD3-CDFE2312040F}"/>
              </a:ext>
            </a:extLst>
          </p:cNvPr>
          <p:cNvSpPr txBox="1"/>
          <p:nvPr/>
        </p:nvSpPr>
        <p:spPr>
          <a:xfrm>
            <a:off x="11243749" y="4911770"/>
            <a:ext cx="3239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dia Analytic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BA6E5DF4-A178-4EE3-80A1-F1277D0E1D6C}"/>
              </a:ext>
            </a:extLst>
          </p:cNvPr>
          <p:cNvSpPr txBox="1"/>
          <p:nvPr/>
        </p:nvSpPr>
        <p:spPr>
          <a:xfrm>
            <a:off x="11805657" y="4911770"/>
            <a:ext cx="3239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23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Indexer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B696DB97-2130-46F7-BB91-45EA72D1A02D}"/>
              </a:ext>
            </a:extLst>
          </p:cNvPr>
          <p:cNvSpPr/>
          <p:nvPr/>
        </p:nvSpPr>
        <p:spPr bwMode="auto">
          <a:xfrm>
            <a:off x="4578661" y="457935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Integration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982636AC-0B19-4C64-AE0F-BBB8A1262D58}"/>
              </a:ext>
            </a:extLst>
          </p:cNvPr>
          <p:cNvSpPr/>
          <p:nvPr/>
        </p:nvSpPr>
        <p:spPr bwMode="auto">
          <a:xfrm>
            <a:off x="7215848" y="457935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edia</a:t>
            </a:r>
          </a:p>
        </p:txBody>
      </p: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7288D655-E787-48F2-B4BC-0BAD85C1E6D1}"/>
              </a:ext>
            </a:extLst>
          </p:cNvPr>
          <p:cNvCxnSpPr>
            <a:cxnSpLocks/>
          </p:cNvCxnSpPr>
          <p:nvPr/>
        </p:nvCxnSpPr>
        <p:spPr>
          <a:xfrm flipH="1">
            <a:off x="951960" y="4579357"/>
            <a:ext cx="11239176" cy="0"/>
          </a:xfrm>
          <a:prstGeom prst="line">
            <a:avLst/>
          </a:prstGeom>
          <a:ln w="635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5704D94-A18C-4877-BFA9-CEF7DD4309EC}"/>
              </a:ext>
            </a:extLst>
          </p:cNvPr>
          <p:cNvCxnSpPr>
            <a:cxnSpLocks/>
          </p:cNvCxnSpPr>
          <p:nvPr/>
        </p:nvCxnSpPr>
        <p:spPr>
          <a:xfrm flipH="1">
            <a:off x="4578661" y="4579357"/>
            <a:ext cx="64946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D77EAC45-F6DC-4914-8128-930A205A4D0E}"/>
              </a:ext>
            </a:extLst>
          </p:cNvPr>
          <p:cNvSpPr txBox="1"/>
          <p:nvPr/>
        </p:nvSpPr>
        <p:spPr>
          <a:xfrm>
            <a:off x="4372931" y="6607517"/>
            <a:ext cx="351008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US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vernmen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AAEE5FE9-53C7-4347-BADA-CCD6E3A73123}"/>
              </a:ext>
            </a:extLst>
          </p:cNvPr>
          <p:cNvSpPr txBox="1"/>
          <p:nvPr/>
        </p:nvSpPr>
        <p:spPr>
          <a:xfrm>
            <a:off x="4871809" y="6607517"/>
            <a:ext cx="253238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rman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3D226A15-1991-4187-8F13-CF8F5A5B93FE}"/>
              </a:ext>
            </a:extLst>
          </p:cNvPr>
          <p:cNvSpPr txBox="1"/>
          <p:nvPr/>
        </p:nvSpPr>
        <p:spPr>
          <a:xfrm>
            <a:off x="5223116" y="6607518"/>
            <a:ext cx="4680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na 21Viane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5C6228D3-CFB5-4436-B4C7-10AC3052E37A}"/>
              </a:ext>
            </a:extLst>
          </p:cNvPr>
          <p:cNvSpPr txBox="1"/>
          <p:nvPr/>
        </p:nvSpPr>
        <p:spPr>
          <a:xfrm>
            <a:off x="6475234" y="6607517"/>
            <a:ext cx="254842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e</a:t>
            </a:r>
            <a:b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7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very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48F29773-941D-47B0-B50C-9AE2ADC48533}"/>
              </a:ext>
            </a:extLst>
          </p:cNvPr>
          <p:cNvSpPr txBox="1"/>
          <p:nvPr/>
        </p:nvSpPr>
        <p:spPr>
          <a:xfrm>
            <a:off x="6784857" y="6607517"/>
            <a:ext cx="378255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st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nagement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3E00EDBA-773C-4E26-801E-4F384084BBFE}"/>
              </a:ext>
            </a:extLst>
          </p:cNvPr>
          <p:cNvSpPr txBox="1"/>
          <p:nvPr/>
        </p:nvSpPr>
        <p:spPr>
          <a:xfrm>
            <a:off x="7242794" y="6607517"/>
            <a:ext cx="495258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base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ation Servic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EECBEF9F-ACE9-4315-8A96-8D205F50FD73}"/>
              </a:ext>
            </a:extLst>
          </p:cNvPr>
          <p:cNvSpPr txBox="1"/>
          <p:nvPr/>
        </p:nvSpPr>
        <p:spPr>
          <a:xfrm>
            <a:off x="7848860" y="6607517"/>
            <a:ext cx="222786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at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58DBEBED-58B2-4FBC-B248-EC9054129804}"/>
              </a:ext>
            </a:extLst>
          </p:cNvPr>
          <p:cNvSpPr txBox="1"/>
          <p:nvPr/>
        </p:nvSpPr>
        <p:spPr>
          <a:xfrm>
            <a:off x="8889500" y="6626193"/>
            <a:ext cx="3638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 Twin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56532033-C1E4-43B2-B5A3-F45C0A8FA8B5}"/>
              </a:ext>
            </a:extLst>
          </p:cNvPr>
          <p:cNvSpPr txBox="1"/>
          <p:nvPr/>
        </p:nvSpPr>
        <p:spPr>
          <a:xfrm>
            <a:off x="9471424" y="6626193"/>
            <a:ext cx="38947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Spatial </a:t>
            </a:r>
          </a:p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chors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A1396300-1126-4077-8BA8-C5EF376A698C}"/>
              </a:ext>
            </a:extLst>
          </p:cNvPr>
          <p:cNvSpPr/>
          <p:nvPr/>
        </p:nvSpPr>
        <p:spPr bwMode="auto">
          <a:xfrm>
            <a:off x="3682257" y="628563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Sovereign Clouds</a:t>
            </a: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23B2E18C-39F6-4C22-BFC9-165518F5AFC6}"/>
              </a:ext>
            </a:extLst>
          </p:cNvPr>
          <p:cNvSpPr/>
          <p:nvPr/>
        </p:nvSpPr>
        <p:spPr bwMode="auto">
          <a:xfrm>
            <a:off x="5743103" y="628563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igration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B86C2AB2-A174-48DC-BD42-C958DF793A7C}"/>
              </a:ext>
            </a:extLst>
          </p:cNvPr>
          <p:cNvSpPr/>
          <p:nvPr/>
        </p:nvSpPr>
        <p:spPr bwMode="auto">
          <a:xfrm>
            <a:off x="8162922" y="628563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Mixed </a:t>
            </a:r>
          </a:p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Reality</a:t>
            </a:r>
          </a:p>
        </p:txBody>
      </p:sp>
      <p:pic>
        <p:nvPicPr>
          <p:cNvPr id="506" name="Picture 2" descr="Image result for databricks logo">
            <a:extLst>
              <a:ext uri="{FF2B5EF4-FFF2-40B4-BE49-F238E27FC236}">
                <a16:creationId xmlns:a16="http://schemas.microsoft.com/office/drawing/2014/main" id="{5CE5DADD-B262-4B08-B73A-2907649F6A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6557" y="2000610"/>
            <a:ext cx="206944" cy="21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7" name="Picture 506">
            <a:extLst>
              <a:ext uri="{FF2B5EF4-FFF2-40B4-BE49-F238E27FC236}">
                <a16:creationId xmlns:a16="http://schemas.microsoft.com/office/drawing/2014/main" id="{AE322FB8-8C4A-4C8B-8388-8C73F45FCD6F}"/>
              </a:ext>
            </a:extLst>
          </p:cNvPr>
          <p:cNvPicPr>
            <a:picLocks noChangeAspect="1"/>
          </p:cNvPicPr>
          <p:nvPr/>
        </p:nvPicPr>
        <p:blipFill>
          <a:blip r:embed="rId237"/>
          <a:stretch>
            <a:fillRect/>
          </a:stretch>
        </p:blipFill>
        <p:spPr>
          <a:xfrm>
            <a:off x="1501962" y="2055948"/>
            <a:ext cx="209875" cy="163235"/>
          </a:xfrm>
          <a:prstGeom prst="rect">
            <a:avLst/>
          </a:prstGeom>
        </p:spPr>
      </p:pic>
      <p:pic>
        <p:nvPicPr>
          <p:cNvPr id="508" name="Picture 507">
            <a:extLst>
              <a:ext uri="{FF2B5EF4-FFF2-40B4-BE49-F238E27FC236}">
                <a16:creationId xmlns:a16="http://schemas.microsoft.com/office/drawing/2014/main" id="{AB716D78-A2C2-4274-92F8-5BC3461E03D7}"/>
              </a:ext>
            </a:extLst>
          </p:cNvPr>
          <p:cNvPicPr>
            <a:picLocks noChangeAspect="1"/>
          </p:cNvPicPr>
          <p:nvPr/>
        </p:nvPicPr>
        <p:blipFill>
          <a:blip r:embed="rId238"/>
          <a:stretch>
            <a:fillRect/>
          </a:stretch>
        </p:blipFill>
        <p:spPr>
          <a:xfrm>
            <a:off x="1927404" y="2064652"/>
            <a:ext cx="198240" cy="154532"/>
          </a:xfrm>
          <a:prstGeom prst="rect">
            <a:avLst/>
          </a:prstGeom>
        </p:spPr>
      </p:pic>
      <p:pic>
        <p:nvPicPr>
          <p:cNvPr id="509" name="Picture 508">
            <a:extLst>
              <a:ext uri="{FF2B5EF4-FFF2-40B4-BE49-F238E27FC236}">
                <a16:creationId xmlns:a16="http://schemas.microsoft.com/office/drawing/2014/main" id="{CC7E39E7-BACB-48DC-B0F1-4B9B59DD97FA}"/>
              </a:ext>
            </a:extLst>
          </p:cNvPr>
          <p:cNvPicPr>
            <a:picLocks noChangeAspect="1"/>
          </p:cNvPicPr>
          <p:nvPr/>
        </p:nvPicPr>
        <p:blipFill>
          <a:blip r:embed="rId239"/>
          <a:stretch>
            <a:fillRect/>
          </a:stretch>
        </p:blipFill>
        <p:spPr>
          <a:xfrm>
            <a:off x="2324694" y="2050268"/>
            <a:ext cx="165287" cy="171035"/>
          </a:xfrm>
          <a:prstGeom prst="rect">
            <a:avLst/>
          </a:prstGeom>
        </p:spPr>
      </p:pic>
      <p:pic>
        <p:nvPicPr>
          <p:cNvPr id="510" name="Picture 509">
            <a:extLst>
              <a:ext uri="{FF2B5EF4-FFF2-40B4-BE49-F238E27FC236}">
                <a16:creationId xmlns:a16="http://schemas.microsoft.com/office/drawing/2014/main" id="{025D92E5-6702-4BF3-83CB-773EB6A3424B}"/>
              </a:ext>
            </a:extLst>
          </p:cNvPr>
          <p:cNvPicPr>
            <a:picLocks noChangeAspect="1"/>
          </p:cNvPicPr>
          <p:nvPr/>
        </p:nvPicPr>
        <p:blipFill>
          <a:blip r:embed="rId240"/>
          <a:stretch>
            <a:fillRect/>
          </a:stretch>
        </p:blipFill>
        <p:spPr>
          <a:xfrm>
            <a:off x="2870004" y="2044627"/>
            <a:ext cx="180077" cy="180076"/>
          </a:xfrm>
          <a:prstGeom prst="rect">
            <a:avLst/>
          </a:prstGeom>
        </p:spPr>
      </p:pic>
      <p:pic>
        <p:nvPicPr>
          <p:cNvPr id="511" name="Picture 510">
            <a:extLst>
              <a:ext uri="{FF2B5EF4-FFF2-40B4-BE49-F238E27FC236}">
                <a16:creationId xmlns:a16="http://schemas.microsoft.com/office/drawing/2014/main" id="{48DB320A-C592-4D7D-87E7-70967EBB96FA}"/>
              </a:ext>
            </a:extLst>
          </p:cNvPr>
          <p:cNvPicPr>
            <a:picLocks noChangeAspect="1"/>
          </p:cNvPicPr>
          <p:nvPr/>
        </p:nvPicPr>
        <p:blipFill>
          <a:blip r:embed="rId241"/>
          <a:stretch>
            <a:fillRect/>
          </a:stretch>
        </p:blipFill>
        <p:spPr>
          <a:xfrm>
            <a:off x="3472983" y="2042651"/>
            <a:ext cx="238204" cy="178653"/>
          </a:xfrm>
          <a:prstGeom prst="rect">
            <a:avLst/>
          </a:prstGeom>
        </p:spPr>
      </p:pic>
      <p:pic>
        <p:nvPicPr>
          <p:cNvPr id="512" name="Picture 511">
            <a:extLst>
              <a:ext uri="{FF2B5EF4-FFF2-40B4-BE49-F238E27FC236}">
                <a16:creationId xmlns:a16="http://schemas.microsoft.com/office/drawing/2014/main" id="{B3048EB0-56ED-4973-8E53-40C21AC59A06}"/>
              </a:ext>
            </a:extLst>
          </p:cNvPr>
          <p:cNvPicPr>
            <a:picLocks noChangeAspect="1"/>
          </p:cNvPicPr>
          <p:nvPr/>
        </p:nvPicPr>
        <p:blipFill>
          <a:blip r:embed="rId2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0397" y="2038864"/>
            <a:ext cx="180077" cy="180076"/>
          </a:xfrm>
          <a:prstGeom prst="rect">
            <a:avLst/>
          </a:prstGeom>
        </p:spPr>
      </p:pic>
      <p:pic>
        <p:nvPicPr>
          <p:cNvPr id="513" name="Picture 2" descr="Image result for azure analysis services">
            <a:hlinkClick r:id="rId243"/>
            <a:extLst>
              <a:ext uri="{FF2B5EF4-FFF2-40B4-BE49-F238E27FC236}">
                <a16:creationId xmlns:a16="http://schemas.microsoft.com/office/drawing/2014/main" id="{83B31B34-CCCA-4C57-957C-613B43EC09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02573" y="2038429"/>
            <a:ext cx="236673" cy="180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5" name="Picture 514">
            <a:extLst>
              <a:ext uri="{FF2B5EF4-FFF2-40B4-BE49-F238E27FC236}">
                <a16:creationId xmlns:a16="http://schemas.microsoft.com/office/drawing/2014/main" id="{F733DA76-1641-4FF4-A0AF-12158938BABC}"/>
              </a:ext>
            </a:extLst>
          </p:cNvPr>
          <p:cNvPicPr>
            <a:picLocks noChangeAspect="1"/>
          </p:cNvPicPr>
          <p:nvPr/>
        </p:nvPicPr>
        <p:blipFill>
          <a:blip r:embed="rId245"/>
          <a:stretch>
            <a:fillRect/>
          </a:stretch>
        </p:blipFill>
        <p:spPr>
          <a:xfrm>
            <a:off x="6108585" y="2033966"/>
            <a:ext cx="185218" cy="185219"/>
          </a:xfrm>
          <a:prstGeom prst="rect">
            <a:avLst/>
          </a:prstGeom>
        </p:spPr>
      </p:pic>
      <p:pic>
        <p:nvPicPr>
          <p:cNvPr id="516" name="Picture 515">
            <a:extLst>
              <a:ext uri="{FF2B5EF4-FFF2-40B4-BE49-F238E27FC236}">
                <a16:creationId xmlns:a16="http://schemas.microsoft.com/office/drawing/2014/main" id="{DE7EC2DA-388D-44D5-80DE-38FA1261EDE4}"/>
              </a:ext>
            </a:extLst>
          </p:cNvPr>
          <p:cNvPicPr>
            <a:picLocks noChangeAspect="1"/>
          </p:cNvPicPr>
          <p:nvPr/>
        </p:nvPicPr>
        <p:blipFill>
          <a:blip r:embed="rId246"/>
          <a:stretch>
            <a:fillRect/>
          </a:stretch>
        </p:blipFill>
        <p:spPr>
          <a:xfrm>
            <a:off x="6766801" y="2038429"/>
            <a:ext cx="188972" cy="188974"/>
          </a:xfrm>
          <a:prstGeom prst="rect">
            <a:avLst/>
          </a:prstGeom>
        </p:spPr>
      </p:pic>
      <p:pic>
        <p:nvPicPr>
          <p:cNvPr id="518" name="Picture 517">
            <a:extLst>
              <a:ext uri="{FF2B5EF4-FFF2-40B4-BE49-F238E27FC236}">
                <a16:creationId xmlns:a16="http://schemas.microsoft.com/office/drawing/2014/main" id="{D66A406F-F8F4-40F3-8883-C5F25B56E0CE}"/>
              </a:ext>
            </a:extLst>
          </p:cNvPr>
          <p:cNvPicPr>
            <a:picLocks noChangeAspect="1"/>
          </p:cNvPicPr>
          <p:nvPr/>
        </p:nvPicPr>
        <p:blipFill>
          <a:blip r:embed="rId246"/>
          <a:stretch>
            <a:fillRect/>
          </a:stretch>
        </p:blipFill>
        <p:spPr>
          <a:xfrm>
            <a:off x="7418879" y="2038429"/>
            <a:ext cx="188972" cy="188974"/>
          </a:xfrm>
          <a:prstGeom prst="rect">
            <a:avLst/>
          </a:prstGeom>
        </p:spPr>
      </p:pic>
      <p:pic>
        <p:nvPicPr>
          <p:cNvPr id="519" name="Picture 518">
            <a:extLst>
              <a:ext uri="{FF2B5EF4-FFF2-40B4-BE49-F238E27FC236}">
                <a16:creationId xmlns:a16="http://schemas.microsoft.com/office/drawing/2014/main" id="{F4A6B5BE-0D50-4690-8F78-47B0FD8FD7E4}"/>
              </a:ext>
            </a:extLst>
          </p:cNvPr>
          <p:cNvPicPr>
            <a:picLocks noChangeAspect="1"/>
          </p:cNvPicPr>
          <p:nvPr/>
        </p:nvPicPr>
        <p:blipFill>
          <a:blip r:embed="rId247"/>
          <a:stretch>
            <a:fillRect/>
          </a:stretch>
        </p:blipFill>
        <p:spPr>
          <a:xfrm>
            <a:off x="8117521" y="2030916"/>
            <a:ext cx="201621" cy="201621"/>
          </a:xfrm>
          <a:prstGeom prst="rect">
            <a:avLst/>
          </a:prstGeom>
        </p:spPr>
      </p:pic>
      <p:pic>
        <p:nvPicPr>
          <p:cNvPr id="520" name="Picture 519">
            <a:extLst>
              <a:ext uri="{FF2B5EF4-FFF2-40B4-BE49-F238E27FC236}">
                <a16:creationId xmlns:a16="http://schemas.microsoft.com/office/drawing/2014/main" id="{EDA13C0F-A005-49BD-89F4-99F0F8D71B0D}"/>
              </a:ext>
            </a:extLst>
          </p:cNvPr>
          <p:cNvPicPr>
            <a:picLocks noChangeAspect="1"/>
          </p:cNvPicPr>
          <p:nvPr/>
        </p:nvPicPr>
        <p:blipFill>
          <a:blip r:embed="rId247"/>
          <a:stretch>
            <a:fillRect/>
          </a:stretch>
        </p:blipFill>
        <p:spPr>
          <a:xfrm>
            <a:off x="8882595" y="2030916"/>
            <a:ext cx="201621" cy="201621"/>
          </a:xfrm>
          <a:prstGeom prst="rect">
            <a:avLst/>
          </a:prstGeom>
        </p:spPr>
      </p:pic>
      <p:pic>
        <p:nvPicPr>
          <p:cNvPr id="521" name="Picture 520">
            <a:extLst>
              <a:ext uri="{FF2B5EF4-FFF2-40B4-BE49-F238E27FC236}">
                <a16:creationId xmlns:a16="http://schemas.microsoft.com/office/drawing/2014/main" id="{1F41EC92-77D2-4808-95F8-8C4D538E9434}"/>
              </a:ext>
            </a:extLst>
          </p:cNvPr>
          <p:cNvPicPr>
            <a:picLocks noChangeAspect="1"/>
          </p:cNvPicPr>
          <p:nvPr/>
        </p:nvPicPr>
        <p:blipFill>
          <a:blip r:embed="rId247"/>
          <a:stretch>
            <a:fillRect/>
          </a:stretch>
        </p:blipFill>
        <p:spPr>
          <a:xfrm>
            <a:off x="9633242" y="2030916"/>
            <a:ext cx="201621" cy="201621"/>
          </a:xfrm>
          <a:prstGeom prst="rect">
            <a:avLst/>
          </a:prstGeom>
        </p:spPr>
      </p:pic>
      <p:pic>
        <p:nvPicPr>
          <p:cNvPr id="522" name="Picture 521">
            <a:extLst>
              <a:ext uri="{FF2B5EF4-FFF2-40B4-BE49-F238E27FC236}">
                <a16:creationId xmlns:a16="http://schemas.microsoft.com/office/drawing/2014/main" id="{7F8D885C-B3BD-4429-806F-556C3DD8C7AA}"/>
              </a:ext>
            </a:extLst>
          </p:cNvPr>
          <p:cNvPicPr>
            <a:picLocks noChangeAspect="1"/>
          </p:cNvPicPr>
          <p:nvPr/>
        </p:nvPicPr>
        <p:blipFill>
          <a:blip r:embed="rId248"/>
          <a:stretch>
            <a:fillRect/>
          </a:stretch>
        </p:blipFill>
        <p:spPr>
          <a:xfrm>
            <a:off x="10230517" y="2030212"/>
            <a:ext cx="201140" cy="201140"/>
          </a:xfrm>
          <a:prstGeom prst="rect">
            <a:avLst/>
          </a:prstGeom>
        </p:spPr>
      </p:pic>
      <p:pic>
        <p:nvPicPr>
          <p:cNvPr id="523" name="Picture 522">
            <a:extLst>
              <a:ext uri="{FF2B5EF4-FFF2-40B4-BE49-F238E27FC236}">
                <a16:creationId xmlns:a16="http://schemas.microsoft.com/office/drawing/2014/main" id="{40864C5E-981A-4B41-AA2B-1995E97402AE}"/>
              </a:ext>
            </a:extLst>
          </p:cNvPr>
          <p:cNvPicPr>
            <a:picLocks noChangeAspect="1"/>
          </p:cNvPicPr>
          <p:nvPr/>
        </p:nvPicPr>
        <p:blipFill>
          <a:blip r:embed="rId249"/>
          <a:stretch>
            <a:fillRect/>
          </a:stretch>
        </p:blipFill>
        <p:spPr>
          <a:xfrm>
            <a:off x="10702647" y="2042130"/>
            <a:ext cx="201139" cy="201140"/>
          </a:xfrm>
          <a:prstGeom prst="rect">
            <a:avLst/>
          </a:prstGeom>
        </p:spPr>
      </p:pic>
      <p:pic>
        <p:nvPicPr>
          <p:cNvPr id="524" name="Picture 523">
            <a:extLst>
              <a:ext uri="{FF2B5EF4-FFF2-40B4-BE49-F238E27FC236}">
                <a16:creationId xmlns:a16="http://schemas.microsoft.com/office/drawing/2014/main" id="{DE599B9B-DA2A-48CC-8C1B-A913C1F5C72B}"/>
              </a:ext>
            </a:extLst>
          </p:cNvPr>
          <p:cNvPicPr>
            <a:picLocks noChangeAspect="1"/>
          </p:cNvPicPr>
          <p:nvPr/>
        </p:nvPicPr>
        <p:blipFill>
          <a:blip r:embed="rId250"/>
          <a:stretch>
            <a:fillRect/>
          </a:stretch>
        </p:blipFill>
        <p:spPr>
          <a:xfrm>
            <a:off x="11243630" y="2038796"/>
            <a:ext cx="201140" cy="201140"/>
          </a:xfrm>
          <a:prstGeom prst="rect">
            <a:avLst/>
          </a:prstGeom>
        </p:spPr>
      </p:pic>
      <p:pic>
        <p:nvPicPr>
          <p:cNvPr id="525" name="Picture 524">
            <a:extLst>
              <a:ext uri="{FF2B5EF4-FFF2-40B4-BE49-F238E27FC236}">
                <a16:creationId xmlns:a16="http://schemas.microsoft.com/office/drawing/2014/main" id="{4561DD26-FE0F-4C20-B66E-53C00F67AD02}"/>
              </a:ext>
            </a:extLst>
          </p:cNvPr>
          <p:cNvPicPr>
            <a:picLocks noChangeAspect="1"/>
          </p:cNvPicPr>
          <p:nvPr/>
        </p:nvPicPr>
        <p:blipFill>
          <a:blip r:embed="rId251"/>
          <a:stretch>
            <a:fillRect/>
          </a:stretch>
        </p:blipFill>
        <p:spPr>
          <a:xfrm>
            <a:off x="1080206" y="2570014"/>
            <a:ext cx="219851" cy="219851"/>
          </a:xfrm>
          <a:prstGeom prst="rect">
            <a:avLst/>
          </a:prstGeom>
        </p:spPr>
      </p:pic>
      <p:pic>
        <p:nvPicPr>
          <p:cNvPr id="526" name="Picture 525">
            <a:extLst>
              <a:ext uri="{FF2B5EF4-FFF2-40B4-BE49-F238E27FC236}">
                <a16:creationId xmlns:a16="http://schemas.microsoft.com/office/drawing/2014/main" id="{D8A6CAD5-F288-46CF-B76B-07CFC7B5C882}"/>
              </a:ext>
            </a:extLst>
          </p:cNvPr>
          <p:cNvPicPr>
            <a:picLocks noChangeAspect="1"/>
          </p:cNvPicPr>
          <p:nvPr/>
        </p:nvPicPr>
        <p:blipFill>
          <a:blip r:embed="rId251"/>
          <a:stretch>
            <a:fillRect/>
          </a:stretch>
        </p:blipFill>
        <p:spPr>
          <a:xfrm>
            <a:off x="1801064" y="2570014"/>
            <a:ext cx="219851" cy="219851"/>
          </a:xfrm>
          <a:prstGeom prst="rect">
            <a:avLst/>
          </a:prstGeom>
        </p:spPr>
      </p:pic>
      <p:pic>
        <p:nvPicPr>
          <p:cNvPr id="527" name="Picture 526">
            <a:extLst>
              <a:ext uri="{FF2B5EF4-FFF2-40B4-BE49-F238E27FC236}">
                <a16:creationId xmlns:a16="http://schemas.microsoft.com/office/drawing/2014/main" id="{47293EB1-4F00-4F8A-A4FF-A38194B7D719}"/>
              </a:ext>
            </a:extLst>
          </p:cNvPr>
          <p:cNvPicPr>
            <a:picLocks noChangeAspect="1"/>
          </p:cNvPicPr>
          <p:nvPr/>
        </p:nvPicPr>
        <p:blipFill>
          <a:blip r:embed="rId252"/>
          <a:stretch>
            <a:fillRect/>
          </a:stretch>
        </p:blipFill>
        <p:spPr>
          <a:xfrm>
            <a:off x="2411818" y="2573110"/>
            <a:ext cx="216433" cy="216431"/>
          </a:xfrm>
          <a:prstGeom prst="rect">
            <a:avLst/>
          </a:prstGeom>
        </p:spPr>
      </p:pic>
      <p:pic>
        <p:nvPicPr>
          <p:cNvPr id="528" name="Picture 527">
            <a:extLst>
              <a:ext uri="{FF2B5EF4-FFF2-40B4-BE49-F238E27FC236}">
                <a16:creationId xmlns:a16="http://schemas.microsoft.com/office/drawing/2014/main" id="{CBA0E729-CD68-444E-BB64-4447188E852B}"/>
              </a:ext>
            </a:extLst>
          </p:cNvPr>
          <p:cNvPicPr>
            <a:picLocks noChangeAspect="1"/>
          </p:cNvPicPr>
          <p:nvPr/>
        </p:nvPicPr>
        <p:blipFill>
          <a:blip r:embed="rId253"/>
          <a:stretch>
            <a:fillRect/>
          </a:stretch>
        </p:blipFill>
        <p:spPr>
          <a:xfrm>
            <a:off x="3144992" y="2578361"/>
            <a:ext cx="208669" cy="208667"/>
          </a:xfrm>
          <a:prstGeom prst="rect">
            <a:avLst/>
          </a:prstGeom>
        </p:spPr>
      </p:pic>
      <p:pic>
        <p:nvPicPr>
          <p:cNvPr id="529" name="Picture 528">
            <a:extLst>
              <a:ext uri="{FF2B5EF4-FFF2-40B4-BE49-F238E27FC236}">
                <a16:creationId xmlns:a16="http://schemas.microsoft.com/office/drawing/2014/main" id="{CFE9AE3C-EB07-4A53-AC7A-FD2B9B314794}"/>
              </a:ext>
            </a:extLst>
          </p:cNvPr>
          <p:cNvPicPr>
            <a:picLocks noChangeAspect="1"/>
          </p:cNvPicPr>
          <p:nvPr/>
        </p:nvPicPr>
        <p:blipFill>
          <a:blip r:embed="rId254"/>
          <a:stretch>
            <a:fillRect/>
          </a:stretch>
        </p:blipFill>
        <p:spPr>
          <a:xfrm>
            <a:off x="4028443" y="2579421"/>
            <a:ext cx="157556" cy="214848"/>
          </a:xfrm>
          <a:prstGeom prst="rect">
            <a:avLst/>
          </a:prstGeom>
        </p:spPr>
      </p:pic>
      <p:pic>
        <p:nvPicPr>
          <p:cNvPr id="530" name="Picture 529">
            <a:extLst>
              <a:ext uri="{FF2B5EF4-FFF2-40B4-BE49-F238E27FC236}">
                <a16:creationId xmlns:a16="http://schemas.microsoft.com/office/drawing/2014/main" id="{91F1A5DA-99AB-4C7F-A0E4-AF17F4C61D73}"/>
              </a:ext>
            </a:extLst>
          </p:cNvPr>
          <p:cNvPicPr>
            <a:picLocks noChangeAspect="1"/>
          </p:cNvPicPr>
          <p:nvPr/>
        </p:nvPicPr>
        <p:blipFill>
          <a:blip r:embed="rId251"/>
          <a:stretch>
            <a:fillRect/>
          </a:stretch>
        </p:blipFill>
        <p:spPr>
          <a:xfrm>
            <a:off x="4887555" y="2581255"/>
            <a:ext cx="212823" cy="212821"/>
          </a:xfrm>
          <a:prstGeom prst="rect">
            <a:avLst/>
          </a:prstGeom>
        </p:spPr>
      </p:pic>
      <p:pic>
        <p:nvPicPr>
          <p:cNvPr id="531" name="Picture 530">
            <a:extLst>
              <a:ext uri="{FF2B5EF4-FFF2-40B4-BE49-F238E27FC236}">
                <a16:creationId xmlns:a16="http://schemas.microsoft.com/office/drawing/2014/main" id="{32BE62D8-5EB6-495A-AB14-45C8BF3552FE}"/>
              </a:ext>
            </a:extLst>
          </p:cNvPr>
          <p:cNvPicPr>
            <a:picLocks noChangeAspect="1"/>
          </p:cNvPicPr>
          <p:nvPr/>
        </p:nvPicPr>
        <p:blipFill>
          <a:blip r:embed="rId255"/>
          <a:stretch>
            <a:fillRect/>
          </a:stretch>
        </p:blipFill>
        <p:spPr>
          <a:xfrm>
            <a:off x="5876774" y="2583971"/>
            <a:ext cx="209823" cy="209821"/>
          </a:xfrm>
          <a:prstGeom prst="rect">
            <a:avLst/>
          </a:prstGeom>
        </p:spPr>
      </p:pic>
      <p:pic>
        <p:nvPicPr>
          <p:cNvPr id="532" name="Picture 531">
            <a:extLst>
              <a:ext uri="{FF2B5EF4-FFF2-40B4-BE49-F238E27FC236}">
                <a16:creationId xmlns:a16="http://schemas.microsoft.com/office/drawing/2014/main" id="{A0E67D03-C27E-4BDA-BE9D-27BAB708E31B}"/>
              </a:ext>
            </a:extLst>
          </p:cNvPr>
          <p:cNvPicPr>
            <a:picLocks noChangeAspect="1"/>
          </p:cNvPicPr>
          <p:nvPr/>
        </p:nvPicPr>
        <p:blipFill>
          <a:blip r:embed="rId256"/>
          <a:stretch>
            <a:fillRect/>
          </a:stretch>
        </p:blipFill>
        <p:spPr>
          <a:xfrm>
            <a:off x="6797274" y="2584746"/>
            <a:ext cx="201615" cy="201615"/>
          </a:xfrm>
          <a:prstGeom prst="rect">
            <a:avLst/>
          </a:prstGeom>
        </p:spPr>
      </p:pic>
      <p:pic>
        <p:nvPicPr>
          <p:cNvPr id="533" name="Picture 532">
            <a:extLst>
              <a:ext uri="{FF2B5EF4-FFF2-40B4-BE49-F238E27FC236}">
                <a16:creationId xmlns:a16="http://schemas.microsoft.com/office/drawing/2014/main" id="{6E239B9A-49C0-4F84-A767-AF456AB1EBC8}"/>
              </a:ext>
            </a:extLst>
          </p:cNvPr>
          <p:cNvPicPr>
            <a:picLocks noChangeAspect="1"/>
          </p:cNvPicPr>
          <p:nvPr/>
        </p:nvPicPr>
        <p:blipFill>
          <a:blip r:embed="rId256"/>
          <a:stretch>
            <a:fillRect/>
          </a:stretch>
        </p:blipFill>
        <p:spPr>
          <a:xfrm>
            <a:off x="7784191" y="2584746"/>
            <a:ext cx="201615" cy="201615"/>
          </a:xfrm>
          <a:prstGeom prst="rect">
            <a:avLst/>
          </a:prstGeom>
        </p:spPr>
      </p:pic>
      <p:pic>
        <p:nvPicPr>
          <p:cNvPr id="534" name="Picture 533">
            <a:extLst>
              <a:ext uri="{FF2B5EF4-FFF2-40B4-BE49-F238E27FC236}">
                <a16:creationId xmlns:a16="http://schemas.microsoft.com/office/drawing/2014/main" id="{74D0BA93-30ED-478A-8308-F6646CA00782}"/>
              </a:ext>
            </a:extLst>
          </p:cNvPr>
          <p:cNvPicPr>
            <a:picLocks noChangeAspect="1"/>
          </p:cNvPicPr>
          <p:nvPr/>
        </p:nvPicPr>
        <p:blipFill>
          <a:blip r:embed="rId257"/>
          <a:stretch>
            <a:fillRect/>
          </a:stretch>
        </p:blipFill>
        <p:spPr>
          <a:xfrm>
            <a:off x="8751877" y="2582312"/>
            <a:ext cx="201615" cy="201615"/>
          </a:xfrm>
          <a:prstGeom prst="rect">
            <a:avLst/>
          </a:prstGeom>
        </p:spPr>
      </p:pic>
      <p:pic>
        <p:nvPicPr>
          <p:cNvPr id="535" name="Picture 534">
            <a:extLst>
              <a:ext uri="{FF2B5EF4-FFF2-40B4-BE49-F238E27FC236}">
                <a16:creationId xmlns:a16="http://schemas.microsoft.com/office/drawing/2014/main" id="{D33F54C9-71DE-44BE-BCF2-5DD572C90598}"/>
              </a:ext>
            </a:extLst>
          </p:cNvPr>
          <p:cNvPicPr>
            <a:picLocks noChangeAspect="1"/>
          </p:cNvPicPr>
          <p:nvPr/>
        </p:nvPicPr>
        <p:blipFill>
          <a:blip r:embed="rId258"/>
          <a:stretch>
            <a:fillRect/>
          </a:stretch>
        </p:blipFill>
        <p:spPr>
          <a:xfrm>
            <a:off x="9466625" y="2574531"/>
            <a:ext cx="220249" cy="220247"/>
          </a:xfrm>
          <a:prstGeom prst="rect">
            <a:avLst/>
          </a:prstGeom>
        </p:spPr>
      </p:pic>
      <p:pic>
        <p:nvPicPr>
          <p:cNvPr id="536" name="Picture 535">
            <a:extLst>
              <a:ext uri="{FF2B5EF4-FFF2-40B4-BE49-F238E27FC236}">
                <a16:creationId xmlns:a16="http://schemas.microsoft.com/office/drawing/2014/main" id="{FC784C4A-530C-4CEF-AF6B-C2968DE4EADE}"/>
              </a:ext>
            </a:extLst>
          </p:cNvPr>
          <p:cNvPicPr>
            <a:picLocks noChangeAspect="1"/>
          </p:cNvPicPr>
          <p:nvPr/>
        </p:nvPicPr>
        <p:blipFill>
          <a:blip r:embed="rId259"/>
          <a:stretch>
            <a:fillRect/>
          </a:stretch>
        </p:blipFill>
        <p:spPr>
          <a:xfrm>
            <a:off x="10233652" y="2568160"/>
            <a:ext cx="227283" cy="227283"/>
          </a:xfrm>
          <a:prstGeom prst="rect">
            <a:avLst/>
          </a:prstGeom>
        </p:spPr>
      </p:pic>
      <p:pic>
        <p:nvPicPr>
          <p:cNvPr id="537" name="Picture 536">
            <a:extLst>
              <a:ext uri="{FF2B5EF4-FFF2-40B4-BE49-F238E27FC236}">
                <a16:creationId xmlns:a16="http://schemas.microsoft.com/office/drawing/2014/main" id="{707351C4-4AAE-4AC9-8FA9-BF816E22A791}"/>
              </a:ext>
            </a:extLst>
          </p:cNvPr>
          <p:cNvPicPr>
            <a:picLocks noChangeAspect="1"/>
          </p:cNvPicPr>
          <p:nvPr/>
        </p:nvPicPr>
        <p:blipFill>
          <a:blip r:embed="rId260"/>
          <a:stretch>
            <a:fillRect/>
          </a:stretch>
        </p:blipFill>
        <p:spPr>
          <a:xfrm>
            <a:off x="11012606" y="2568571"/>
            <a:ext cx="194436" cy="222918"/>
          </a:xfrm>
          <a:prstGeom prst="rect">
            <a:avLst/>
          </a:prstGeom>
        </p:spPr>
      </p:pic>
      <p:pic>
        <p:nvPicPr>
          <p:cNvPr id="538" name="Picture 537">
            <a:extLst>
              <a:ext uri="{FF2B5EF4-FFF2-40B4-BE49-F238E27FC236}">
                <a16:creationId xmlns:a16="http://schemas.microsoft.com/office/drawing/2014/main" id="{DC2FCB85-9A9E-40FD-B704-462996C8DD6D}"/>
              </a:ext>
            </a:extLst>
          </p:cNvPr>
          <p:cNvPicPr>
            <a:picLocks noChangeAspect="1"/>
          </p:cNvPicPr>
          <p:nvPr/>
        </p:nvPicPr>
        <p:blipFill>
          <a:blip r:embed="rId261"/>
          <a:stretch>
            <a:fillRect/>
          </a:stretch>
        </p:blipFill>
        <p:spPr>
          <a:xfrm>
            <a:off x="11778364" y="2564076"/>
            <a:ext cx="195982" cy="227883"/>
          </a:xfrm>
          <a:prstGeom prst="rect">
            <a:avLst/>
          </a:prstGeom>
        </p:spPr>
      </p:pic>
      <p:pic>
        <p:nvPicPr>
          <p:cNvPr id="540" name="Picture 539">
            <a:extLst>
              <a:ext uri="{FF2B5EF4-FFF2-40B4-BE49-F238E27FC236}">
                <a16:creationId xmlns:a16="http://schemas.microsoft.com/office/drawing/2014/main" id="{251E0148-AFD4-4246-936D-E328FC37B33F}"/>
              </a:ext>
            </a:extLst>
          </p:cNvPr>
          <p:cNvPicPr>
            <a:picLocks noChangeAspect="1"/>
          </p:cNvPicPr>
          <p:nvPr/>
        </p:nvPicPr>
        <p:blipFill>
          <a:blip r:embed="rId262"/>
          <a:stretch>
            <a:fillRect/>
          </a:stretch>
        </p:blipFill>
        <p:spPr>
          <a:xfrm>
            <a:off x="1876450" y="3133395"/>
            <a:ext cx="104529" cy="202314"/>
          </a:xfrm>
          <a:prstGeom prst="rect">
            <a:avLst/>
          </a:prstGeom>
        </p:spPr>
      </p:pic>
      <p:pic>
        <p:nvPicPr>
          <p:cNvPr id="541" name="Picture 540">
            <a:extLst>
              <a:ext uri="{FF2B5EF4-FFF2-40B4-BE49-F238E27FC236}">
                <a16:creationId xmlns:a16="http://schemas.microsoft.com/office/drawing/2014/main" id="{DDBBDE11-5480-4343-A5F5-79BBC6FC2DC2}"/>
              </a:ext>
            </a:extLst>
          </p:cNvPr>
          <p:cNvPicPr>
            <a:picLocks noChangeAspect="1"/>
          </p:cNvPicPr>
          <p:nvPr/>
        </p:nvPicPr>
        <p:blipFill>
          <a:blip r:embed="rId263"/>
          <a:stretch>
            <a:fillRect/>
          </a:stretch>
        </p:blipFill>
        <p:spPr>
          <a:xfrm>
            <a:off x="3847865" y="3152486"/>
            <a:ext cx="134364" cy="183223"/>
          </a:xfrm>
          <a:prstGeom prst="rect">
            <a:avLst/>
          </a:prstGeom>
        </p:spPr>
      </p:pic>
      <p:pic>
        <p:nvPicPr>
          <p:cNvPr id="542" name="Picture 541">
            <a:extLst>
              <a:ext uri="{FF2B5EF4-FFF2-40B4-BE49-F238E27FC236}">
                <a16:creationId xmlns:a16="http://schemas.microsoft.com/office/drawing/2014/main" id="{65609F43-BE88-47B7-A97E-690F3B5D76BF}"/>
              </a:ext>
            </a:extLst>
          </p:cNvPr>
          <p:cNvPicPr>
            <a:picLocks noChangeAspect="1"/>
          </p:cNvPicPr>
          <p:nvPr/>
        </p:nvPicPr>
        <p:blipFill>
          <a:blip r:embed="rId264"/>
          <a:stretch>
            <a:fillRect/>
          </a:stretch>
        </p:blipFill>
        <p:spPr>
          <a:xfrm>
            <a:off x="4189478" y="3120785"/>
            <a:ext cx="214925" cy="214924"/>
          </a:xfrm>
          <a:prstGeom prst="rect">
            <a:avLst/>
          </a:prstGeom>
        </p:spPr>
      </p:pic>
      <p:pic>
        <p:nvPicPr>
          <p:cNvPr id="543" name="Picture 542">
            <a:extLst>
              <a:ext uri="{FF2B5EF4-FFF2-40B4-BE49-F238E27FC236}">
                <a16:creationId xmlns:a16="http://schemas.microsoft.com/office/drawing/2014/main" id="{85EAEF64-2398-4F09-9534-BA234E863981}"/>
              </a:ext>
            </a:extLst>
          </p:cNvPr>
          <p:cNvPicPr>
            <a:picLocks noChangeAspect="1"/>
          </p:cNvPicPr>
          <p:nvPr/>
        </p:nvPicPr>
        <p:blipFill>
          <a:blip r:embed="rId265"/>
          <a:stretch>
            <a:fillRect/>
          </a:stretch>
        </p:blipFill>
        <p:spPr>
          <a:xfrm>
            <a:off x="4586512" y="3134209"/>
            <a:ext cx="201500" cy="201500"/>
          </a:xfrm>
          <a:prstGeom prst="rect">
            <a:avLst/>
          </a:prstGeom>
        </p:spPr>
      </p:pic>
      <p:pic>
        <p:nvPicPr>
          <p:cNvPr id="544" name="Picture 543">
            <a:extLst>
              <a:ext uri="{FF2B5EF4-FFF2-40B4-BE49-F238E27FC236}">
                <a16:creationId xmlns:a16="http://schemas.microsoft.com/office/drawing/2014/main" id="{7CDF3B8F-D0AC-46E3-B8AC-25CF052C50B1}"/>
              </a:ext>
            </a:extLst>
          </p:cNvPr>
          <p:cNvPicPr>
            <a:picLocks noChangeAspect="1"/>
          </p:cNvPicPr>
          <p:nvPr/>
        </p:nvPicPr>
        <p:blipFill>
          <a:blip r:embed="rId266"/>
          <a:stretch>
            <a:fillRect/>
          </a:stretch>
        </p:blipFill>
        <p:spPr>
          <a:xfrm>
            <a:off x="5021141" y="3134209"/>
            <a:ext cx="201500" cy="201500"/>
          </a:xfrm>
          <a:prstGeom prst="rect">
            <a:avLst/>
          </a:prstGeom>
        </p:spPr>
      </p:pic>
      <p:pic>
        <p:nvPicPr>
          <p:cNvPr id="545" name="Picture 544">
            <a:extLst>
              <a:ext uri="{FF2B5EF4-FFF2-40B4-BE49-F238E27FC236}">
                <a16:creationId xmlns:a16="http://schemas.microsoft.com/office/drawing/2014/main" id="{3F360E9A-5183-419F-B0BE-759B93CF21C1}"/>
              </a:ext>
            </a:extLst>
          </p:cNvPr>
          <p:cNvPicPr>
            <a:picLocks noChangeAspect="1"/>
          </p:cNvPicPr>
          <p:nvPr/>
        </p:nvPicPr>
        <p:blipFill>
          <a:blip r:embed="rId267"/>
          <a:stretch>
            <a:fillRect/>
          </a:stretch>
        </p:blipFill>
        <p:spPr>
          <a:xfrm>
            <a:off x="5532911" y="3134209"/>
            <a:ext cx="201500" cy="201500"/>
          </a:xfrm>
          <a:prstGeom prst="rect">
            <a:avLst/>
          </a:prstGeom>
        </p:spPr>
      </p:pic>
      <p:pic>
        <p:nvPicPr>
          <p:cNvPr id="546" name="Picture 545">
            <a:extLst>
              <a:ext uri="{FF2B5EF4-FFF2-40B4-BE49-F238E27FC236}">
                <a16:creationId xmlns:a16="http://schemas.microsoft.com/office/drawing/2014/main" id="{52989060-6D2B-41C0-94F6-730CC03287A7}"/>
              </a:ext>
            </a:extLst>
          </p:cNvPr>
          <p:cNvPicPr>
            <a:picLocks noChangeAspect="1"/>
          </p:cNvPicPr>
          <p:nvPr/>
        </p:nvPicPr>
        <p:blipFill>
          <a:blip r:embed="rId268"/>
          <a:stretch>
            <a:fillRect/>
          </a:stretch>
        </p:blipFill>
        <p:spPr>
          <a:xfrm>
            <a:off x="6046930" y="3134209"/>
            <a:ext cx="201500" cy="201500"/>
          </a:xfrm>
          <a:prstGeom prst="rect">
            <a:avLst/>
          </a:prstGeom>
        </p:spPr>
      </p:pic>
      <p:pic>
        <p:nvPicPr>
          <p:cNvPr id="547" name="Picture 546">
            <a:extLst>
              <a:ext uri="{FF2B5EF4-FFF2-40B4-BE49-F238E27FC236}">
                <a16:creationId xmlns:a16="http://schemas.microsoft.com/office/drawing/2014/main" id="{F1E70E50-978E-4306-911E-20CC82C339E8}"/>
              </a:ext>
            </a:extLst>
          </p:cNvPr>
          <p:cNvPicPr>
            <a:picLocks noChangeAspect="1"/>
          </p:cNvPicPr>
          <p:nvPr/>
        </p:nvPicPr>
        <p:blipFill>
          <a:blip r:embed="rId269"/>
          <a:stretch>
            <a:fillRect/>
          </a:stretch>
        </p:blipFill>
        <p:spPr>
          <a:xfrm>
            <a:off x="6440356" y="3134209"/>
            <a:ext cx="201500" cy="201500"/>
          </a:xfrm>
          <a:prstGeom prst="rect">
            <a:avLst/>
          </a:prstGeom>
        </p:spPr>
      </p:pic>
      <p:pic>
        <p:nvPicPr>
          <p:cNvPr id="548" name="Picture 547">
            <a:extLst>
              <a:ext uri="{FF2B5EF4-FFF2-40B4-BE49-F238E27FC236}">
                <a16:creationId xmlns:a16="http://schemas.microsoft.com/office/drawing/2014/main" id="{BC2978B6-B304-4ABE-A02E-5B6250127112}"/>
              </a:ext>
            </a:extLst>
          </p:cNvPr>
          <p:cNvPicPr>
            <a:picLocks noChangeAspect="1"/>
          </p:cNvPicPr>
          <p:nvPr/>
        </p:nvPicPr>
        <p:blipFill>
          <a:blip r:embed="rId270"/>
          <a:stretch>
            <a:fillRect/>
          </a:stretch>
        </p:blipFill>
        <p:spPr>
          <a:xfrm>
            <a:off x="6791276" y="3134209"/>
            <a:ext cx="201500" cy="201500"/>
          </a:xfrm>
          <a:prstGeom prst="rect">
            <a:avLst/>
          </a:prstGeom>
        </p:spPr>
      </p:pic>
      <p:pic>
        <p:nvPicPr>
          <p:cNvPr id="549" name="Picture 548">
            <a:extLst>
              <a:ext uri="{FF2B5EF4-FFF2-40B4-BE49-F238E27FC236}">
                <a16:creationId xmlns:a16="http://schemas.microsoft.com/office/drawing/2014/main" id="{DE221239-B647-425C-9AA2-CBFC6DB5F71A}"/>
              </a:ext>
            </a:extLst>
          </p:cNvPr>
          <p:cNvPicPr>
            <a:picLocks noChangeAspect="1"/>
          </p:cNvPicPr>
          <p:nvPr/>
        </p:nvPicPr>
        <p:blipFill>
          <a:blip r:embed="rId271"/>
          <a:stretch>
            <a:fillRect/>
          </a:stretch>
        </p:blipFill>
        <p:spPr>
          <a:xfrm>
            <a:off x="7201116" y="3134209"/>
            <a:ext cx="201502" cy="201500"/>
          </a:xfrm>
          <a:prstGeom prst="rect">
            <a:avLst/>
          </a:prstGeom>
        </p:spPr>
      </p:pic>
      <p:pic>
        <p:nvPicPr>
          <p:cNvPr id="550" name="Picture 549">
            <a:extLst>
              <a:ext uri="{FF2B5EF4-FFF2-40B4-BE49-F238E27FC236}">
                <a16:creationId xmlns:a16="http://schemas.microsoft.com/office/drawing/2014/main" id="{1DCE481F-C549-4C1C-92DC-5533CB4F6864}"/>
              </a:ext>
            </a:extLst>
          </p:cNvPr>
          <p:cNvPicPr>
            <a:picLocks noChangeAspect="1"/>
          </p:cNvPicPr>
          <p:nvPr/>
        </p:nvPicPr>
        <p:blipFill>
          <a:blip r:embed="rId272"/>
          <a:stretch>
            <a:fillRect/>
          </a:stretch>
        </p:blipFill>
        <p:spPr>
          <a:xfrm>
            <a:off x="7607748" y="3134209"/>
            <a:ext cx="201500" cy="201500"/>
          </a:xfrm>
          <a:prstGeom prst="rect">
            <a:avLst/>
          </a:prstGeom>
        </p:spPr>
      </p:pic>
      <p:pic>
        <p:nvPicPr>
          <p:cNvPr id="551" name="Picture 550">
            <a:extLst>
              <a:ext uri="{FF2B5EF4-FFF2-40B4-BE49-F238E27FC236}">
                <a16:creationId xmlns:a16="http://schemas.microsoft.com/office/drawing/2014/main" id="{C45DA95C-CBA1-4B19-BCB4-F5B8D01A609D}"/>
              </a:ext>
            </a:extLst>
          </p:cNvPr>
          <p:cNvPicPr>
            <a:picLocks noChangeAspect="1"/>
          </p:cNvPicPr>
          <p:nvPr/>
        </p:nvPicPr>
        <p:blipFill>
          <a:blip r:embed="rId273"/>
          <a:stretch>
            <a:fillRect/>
          </a:stretch>
        </p:blipFill>
        <p:spPr>
          <a:xfrm>
            <a:off x="8113754" y="3134209"/>
            <a:ext cx="201500" cy="201500"/>
          </a:xfrm>
          <a:prstGeom prst="rect">
            <a:avLst/>
          </a:prstGeom>
        </p:spPr>
      </p:pic>
      <p:pic>
        <p:nvPicPr>
          <p:cNvPr id="552" name="Picture 551">
            <a:extLst>
              <a:ext uri="{FF2B5EF4-FFF2-40B4-BE49-F238E27FC236}">
                <a16:creationId xmlns:a16="http://schemas.microsoft.com/office/drawing/2014/main" id="{95592F2B-C03C-4A0B-BCE8-03FEA1CF4455}"/>
              </a:ext>
            </a:extLst>
          </p:cNvPr>
          <p:cNvPicPr>
            <a:picLocks noChangeAspect="1"/>
          </p:cNvPicPr>
          <p:nvPr/>
        </p:nvPicPr>
        <p:blipFill>
          <a:blip r:embed="rId274"/>
          <a:stretch>
            <a:fillRect/>
          </a:stretch>
        </p:blipFill>
        <p:spPr>
          <a:xfrm>
            <a:off x="8743973" y="3134209"/>
            <a:ext cx="201500" cy="201500"/>
          </a:xfrm>
          <a:prstGeom prst="rect">
            <a:avLst/>
          </a:prstGeom>
        </p:spPr>
      </p:pic>
      <p:pic>
        <p:nvPicPr>
          <p:cNvPr id="553" name="Picture 552">
            <a:extLst>
              <a:ext uri="{FF2B5EF4-FFF2-40B4-BE49-F238E27FC236}">
                <a16:creationId xmlns:a16="http://schemas.microsoft.com/office/drawing/2014/main" id="{C75519B1-E985-4BA2-AF16-D3A99BBF8607}"/>
              </a:ext>
            </a:extLst>
          </p:cNvPr>
          <p:cNvPicPr>
            <a:picLocks noChangeAspect="1"/>
          </p:cNvPicPr>
          <p:nvPr/>
        </p:nvPicPr>
        <p:blipFill>
          <a:blip r:embed="rId275"/>
          <a:stretch>
            <a:fillRect/>
          </a:stretch>
        </p:blipFill>
        <p:spPr>
          <a:xfrm>
            <a:off x="9322104" y="3134209"/>
            <a:ext cx="201500" cy="201500"/>
          </a:xfrm>
          <a:prstGeom prst="rect">
            <a:avLst/>
          </a:prstGeom>
        </p:spPr>
      </p:pic>
      <p:pic>
        <p:nvPicPr>
          <p:cNvPr id="554" name="Picture 553">
            <a:extLst>
              <a:ext uri="{FF2B5EF4-FFF2-40B4-BE49-F238E27FC236}">
                <a16:creationId xmlns:a16="http://schemas.microsoft.com/office/drawing/2014/main" id="{CCCC64FA-4A2C-44C7-95A0-44BF81F02E26}"/>
              </a:ext>
            </a:extLst>
          </p:cNvPr>
          <p:cNvPicPr>
            <a:picLocks noChangeAspect="1"/>
          </p:cNvPicPr>
          <p:nvPr/>
        </p:nvPicPr>
        <p:blipFill>
          <a:blip r:embed="rId276"/>
          <a:stretch>
            <a:fillRect/>
          </a:stretch>
        </p:blipFill>
        <p:spPr>
          <a:xfrm>
            <a:off x="9824103" y="3134209"/>
            <a:ext cx="201502" cy="201500"/>
          </a:xfrm>
          <a:prstGeom prst="rect">
            <a:avLst/>
          </a:prstGeom>
        </p:spPr>
      </p:pic>
      <p:pic>
        <p:nvPicPr>
          <p:cNvPr id="555" name="Picture 554">
            <a:extLst>
              <a:ext uri="{FF2B5EF4-FFF2-40B4-BE49-F238E27FC236}">
                <a16:creationId xmlns:a16="http://schemas.microsoft.com/office/drawing/2014/main" id="{E2B9BBD9-79DB-42E2-8864-55EF08190888}"/>
              </a:ext>
            </a:extLst>
          </p:cNvPr>
          <p:cNvPicPr>
            <a:picLocks noChangeAspect="1"/>
          </p:cNvPicPr>
          <p:nvPr/>
        </p:nvPicPr>
        <p:blipFill>
          <a:blip r:embed="rId277"/>
          <a:stretch>
            <a:fillRect/>
          </a:stretch>
        </p:blipFill>
        <p:spPr>
          <a:xfrm>
            <a:off x="10469550" y="3134209"/>
            <a:ext cx="201502" cy="201500"/>
          </a:xfrm>
          <a:prstGeom prst="rect">
            <a:avLst/>
          </a:prstGeom>
        </p:spPr>
      </p:pic>
      <p:pic>
        <p:nvPicPr>
          <p:cNvPr id="556" name="Picture 555">
            <a:extLst>
              <a:ext uri="{FF2B5EF4-FFF2-40B4-BE49-F238E27FC236}">
                <a16:creationId xmlns:a16="http://schemas.microsoft.com/office/drawing/2014/main" id="{43F3229C-4188-4B60-8477-5CF382BAE9FA}"/>
              </a:ext>
            </a:extLst>
          </p:cNvPr>
          <p:cNvPicPr>
            <a:picLocks noChangeAspect="1"/>
          </p:cNvPicPr>
          <p:nvPr/>
        </p:nvPicPr>
        <p:blipFill>
          <a:blip r:embed="rId278"/>
          <a:stretch>
            <a:fillRect/>
          </a:stretch>
        </p:blipFill>
        <p:spPr>
          <a:xfrm>
            <a:off x="11134238" y="3134209"/>
            <a:ext cx="201500" cy="201500"/>
          </a:xfrm>
          <a:prstGeom prst="rect">
            <a:avLst/>
          </a:prstGeom>
        </p:spPr>
      </p:pic>
      <p:pic>
        <p:nvPicPr>
          <p:cNvPr id="557" name="Picture 556" descr="Bot Services">
            <a:extLst>
              <a:ext uri="{FF2B5EF4-FFF2-40B4-BE49-F238E27FC236}">
                <a16:creationId xmlns:a16="http://schemas.microsoft.com/office/drawing/2014/main" id="{DBABD831-7B4C-4E5B-AD0C-2F41D7B791AB}"/>
              </a:ext>
            </a:extLst>
          </p:cNvPr>
          <p:cNvPicPr>
            <a:picLocks noChangeAspect="1"/>
          </p:cNvPicPr>
          <p:nvPr/>
        </p:nvPicPr>
        <p:blipFill>
          <a:blip r:embed="rId279"/>
          <a:stretch>
            <a:fillRect/>
          </a:stretch>
        </p:blipFill>
        <p:spPr>
          <a:xfrm>
            <a:off x="1428270" y="3129683"/>
            <a:ext cx="209850" cy="206026"/>
          </a:xfrm>
          <a:prstGeom prst="rect">
            <a:avLst/>
          </a:prstGeom>
        </p:spPr>
      </p:pic>
      <p:pic>
        <p:nvPicPr>
          <p:cNvPr id="558" name="Graphic 557" descr="Machine Learning Studio">
            <a:extLst>
              <a:ext uri="{FF2B5EF4-FFF2-40B4-BE49-F238E27FC236}">
                <a16:creationId xmlns:a16="http://schemas.microsoft.com/office/drawing/2014/main" id="{E32C4E02-89EB-4D35-BFB1-80EC2F5F61C5}"/>
              </a:ext>
            </a:extLst>
          </p:cNvPr>
          <p:cNvPicPr>
            <a:picLocks noChangeAspect="1"/>
          </p:cNvPicPr>
          <p:nvPr/>
        </p:nvPicPr>
        <p:blipFill>
          <a:blip r:embed="rId2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1"/>
              </a:ext>
            </a:extLst>
          </a:blip>
          <a:stretch>
            <a:fillRect/>
          </a:stretch>
        </p:blipFill>
        <p:spPr>
          <a:xfrm>
            <a:off x="2331079" y="3133751"/>
            <a:ext cx="201958" cy="201958"/>
          </a:xfrm>
          <a:prstGeom prst="rect">
            <a:avLst/>
          </a:prstGeom>
        </p:spPr>
      </p:pic>
      <p:pic>
        <p:nvPicPr>
          <p:cNvPr id="559" name="Graphic 558" descr="Machine Learning Studio">
            <a:extLst>
              <a:ext uri="{FF2B5EF4-FFF2-40B4-BE49-F238E27FC236}">
                <a16:creationId xmlns:a16="http://schemas.microsoft.com/office/drawing/2014/main" id="{32B957E6-74DF-4019-BA0F-6E4CB38EC2AE}"/>
              </a:ext>
            </a:extLst>
          </p:cNvPr>
          <p:cNvPicPr>
            <a:picLocks noChangeAspect="1"/>
          </p:cNvPicPr>
          <p:nvPr/>
        </p:nvPicPr>
        <p:blipFill>
          <a:blip r:embed="rId2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1"/>
              </a:ext>
            </a:extLst>
          </a:blip>
          <a:stretch>
            <a:fillRect/>
          </a:stretch>
        </p:blipFill>
        <p:spPr>
          <a:xfrm>
            <a:off x="2908589" y="3133751"/>
            <a:ext cx="201958" cy="201958"/>
          </a:xfrm>
          <a:prstGeom prst="rect">
            <a:avLst/>
          </a:prstGeom>
        </p:spPr>
      </p:pic>
      <p:pic>
        <p:nvPicPr>
          <p:cNvPr id="560" name="Graphic 559">
            <a:extLst>
              <a:ext uri="{FF2B5EF4-FFF2-40B4-BE49-F238E27FC236}">
                <a16:creationId xmlns:a16="http://schemas.microsoft.com/office/drawing/2014/main" id="{74F1FB34-EAD9-4827-8937-4FF25115C32A}"/>
              </a:ext>
            </a:extLst>
          </p:cNvPr>
          <p:cNvPicPr>
            <a:picLocks noChangeAspect="1"/>
          </p:cNvPicPr>
          <p:nvPr/>
        </p:nvPicPr>
        <p:blipFill>
          <a:blip r:embed="rId282">
            <a:extLst>
              <a:ext uri="{96DAC541-7B7A-43D3-8B79-37D633B846F1}">
                <asvg:svgBlip xmlns:asvg="http://schemas.microsoft.com/office/drawing/2016/SVG/main" r:embed="rId283"/>
              </a:ext>
            </a:extLst>
          </a:blip>
          <a:stretch>
            <a:fillRect/>
          </a:stretch>
        </p:blipFill>
        <p:spPr>
          <a:xfrm>
            <a:off x="3385104" y="3126732"/>
            <a:ext cx="208977" cy="208977"/>
          </a:xfrm>
          <a:prstGeom prst="rect">
            <a:avLst/>
          </a:prstGeom>
        </p:spPr>
      </p:pic>
      <p:pic>
        <p:nvPicPr>
          <p:cNvPr id="561" name="Picture 2" descr="Image result for databricks logo">
            <a:extLst>
              <a:ext uri="{FF2B5EF4-FFF2-40B4-BE49-F238E27FC236}">
                <a16:creationId xmlns:a16="http://schemas.microsoft.com/office/drawing/2014/main" id="{7E22CCB8-46FD-44D4-AF9D-7F13615EBA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36171" y="3117136"/>
            <a:ext cx="206944" cy="21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8" name="Group 117">
            <a:extLst>
              <a:ext uri="{FF2B5EF4-FFF2-40B4-BE49-F238E27FC236}">
                <a16:creationId xmlns:a16="http://schemas.microsoft.com/office/drawing/2014/main" id="{9A4865D1-3E5F-41FE-BD53-D71D2037D73F}"/>
              </a:ext>
            </a:extLst>
          </p:cNvPr>
          <p:cNvGrpSpPr/>
          <p:nvPr/>
        </p:nvGrpSpPr>
        <p:grpSpPr>
          <a:xfrm>
            <a:off x="991388" y="3576421"/>
            <a:ext cx="363829" cy="395475"/>
            <a:chOff x="991388" y="3576421"/>
            <a:chExt cx="363829" cy="395475"/>
          </a:xfrm>
        </p:grpSpPr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C4A78B4F-403A-4D1B-B91C-C9EA848FDC94}"/>
                </a:ext>
              </a:extLst>
            </p:cNvPr>
            <p:cNvSpPr txBox="1"/>
            <p:nvPr/>
          </p:nvSpPr>
          <p:spPr>
            <a:xfrm>
              <a:off x="991388" y="3833353"/>
              <a:ext cx="36382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ext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alytics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2" name="Picture 561">
              <a:extLst>
                <a:ext uri="{FF2B5EF4-FFF2-40B4-BE49-F238E27FC236}">
                  <a16:creationId xmlns:a16="http://schemas.microsoft.com/office/drawing/2014/main" id="{86DAAAE4-18B2-42B3-8563-D45D513BD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4"/>
            <a:stretch>
              <a:fillRect/>
            </a:stretch>
          </p:blipFill>
          <p:spPr>
            <a:xfrm>
              <a:off x="1072731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BE45C48-A31C-4796-99E5-48BE04695A0F}"/>
              </a:ext>
            </a:extLst>
          </p:cNvPr>
          <p:cNvGrpSpPr/>
          <p:nvPr/>
        </p:nvGrpSpPr>
        <p:grpSpPr>
          <a:xfrm>
            <a:off x="1445460" y="3576421"/>
            <a:ext cx="282089" cy="395475"/>
            <a:chOff x="1499644" y="3576421"/>
            <a:chExt cx="282089" cy="395475"/>
          </a:xfrm>
        </p:grpSpPr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8FC2B45C-0192-4B45-84DA-2D182CE66164}"/>
                </a:ext>
              </a:extLst>
            </p:cNvPr>
            <p:cNvSpPr txBox="1"/>
            <p:nvPr/>
          </p:nvSpPr>
          <p:spPr>
            <a:xfrm>
              <a:off x="1499644" y="3833353"/>
              <a:ext cx="28208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nslator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Text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3" name="Picture 562">
              <a:extLst>
                <a:ext uri="{FF2B5EF4-FFF2-40B4-BE49-F238E27FC236}">
                  <a16:creationId xmlns:a16="http://schemas.microsoft.com/office/drawing/2014/main" id="{0378FD4B-4AF2-460A-A7E3-4EC0FDF049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5"/>
            <a:stretch>
              <a:fillRect/>
            </a:stretch>
          </p:blipFill>
          <p:spPr>
            <a:xfrm>
              <a:off x="1540118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3A507E59-6544-4D5D-A767-156769442955}"/>
              </a:ext>
            </a:extLst>
          </p:cNvPr>
          <p:cNvGrpSpPr/>
          <p:nvPr/>
        </p:nvGrpSpPr>
        <p:grpSpPr>
          <a:xfrm>
            <a:off x="1817791" y="3576421"/>
            <a:ext cx="445571" cy="395432"/>
            <a:chOff x="1926159" y="3576421"/>
            <a:chExt cx="445571" cy="395432"/>
          </a:xfrm>
        </p:grpSpPr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4E2F8107-E45A-42C6-90EC-E1E4930FAC57}"/>
                </a:ext>
              </a:extLst>
            </p:cNvPr>
            <p:cNvSpPr txBox="1"/>
            <p:nvPr/>
          </p:nvSpPr>
          <p:spPr>
            <a:xfrm>
              <a:off x="1926159" y="3833354"/>
              <a:ext cx="44557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 Languag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odel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4" name="Picture 563">
              <a:extLst>
                <a:ext uri="{FF2B5EF4-FFF2-40B4-BE49-F238E27FC236}">
                  <a16:creationId xmlns:a16="http://schemas.microsoft.com/office/drawing/2014/main" id="{E9662DAC-3D28-43AB-A36C-560FA613C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5"/>
            <a:stretch>
              <a:fillRect/>
            </a:stretch>
          </p:blipFill>
          <p:spPr>
            <a:xfrm>
              <a:off x="2048374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B371F012-7671-415A-B9DA-89E44F70785B}"/>
              </a:ext>
            </a:extLst>
          </p:cNvPr>
          <p:cNvGrpSpPr/>
          <p:nvPr/>
        </p:nvGrpSpPr>
        <p:grpSpPr>
          <a:xfrm>
            <a:off x="2340059" y="3576421"/>
            <a:ext cx="456791" cy="395475"/>
            <a:chOff x="2516157" y="3576421"/>
            <a:chExt cx="456791" cy="395475"/>
          </a:xfrm>
        </p:grpSpPr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060CB808-DFE0-4F15-8F4E-E15E1D443634}"/>
                </a:ext>
              </a:extLst>
            </p:cNvPr>
            <p:cNvSpPr txBox="1"/>
            <p:nvPr/>
          </p:nvSpPr>
          <p:spPr>
            <a:xfrm>
              <a:off x="2516157" y="3833353"/>
              <a:ext cx="456791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ustom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cision 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5" name="Picture 564">
              <a:extLst>
                <a:ext uri="{FF2B5EF4-FFF2-40B4-BE49-F238E27FC236}">
                  <a16:creationId xmlns:a16="http://schemas.microsoft.com/office/drawing/2014/main" id="{316FF3AC-7610-459D-BD65-DD41F5E70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86"/>
            <a:stretch>
              <a:fillRect/>
            </a:stretch>
          </p:blipFill>
          <p:spPr>
            <a:xfrm>
              <a:off x="2643983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2ADF0AA-FF99-4748-9E0B-50B1D1388720}"/>
              </a:ext>
            </a:extLst>
          </p:cNvPr>
          <p:cNvGrpSpPr/>
          <p:nvPr/>
        </p:nvGrpSpPr>
        <p:grpSpPr>
          <a:xfrm>
            <a:off x="2907412" y="3576421"/>
            <a:ext cx="307733" cy="395475"/>
            <a:chOff x="3117375" y="3576421"/>
            <a:chExt cx="307733" cy="395475"/>
          </a:xfrm>
        </p:grpSpPr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D51D78A5-F369-4997-A86A-562575AA846F}"/>
                </a:ext>
              </a:extLst>
            </p:cNvPr>
            <p:cNvSpPr txBox="1"/>
            <p:nvPr/>
          </p:nvSpPr>
          <p:spPr>
            <a:xfrm>
              <a:off x="3117375" y="3833353"/>
              <a:ext cx="307733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8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QnA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Maker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6" name="Picture 565">
              <a:extLst>
                <a:ext uri="{FF2B5EF4-FFF2-40B4-BE49-F238E27FC236}">
                  <a16:creationId xmlns:a16="http://schemas.microsoft.com/office/drawing/2014/main" id="{5BF6B781-ED7F-4381-898B-2FCDCB681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88"/>
            <a:stretch>
              <a:fillRect/>
            </a:stretch>
          </p:blipFill>
          <p:spPr>
            <a:xfrm>
              <a:off x="3170671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EF0A227F-7210-4096-8145-41EE4E83E145}"/>
              </a:ext>
            </a:extLst>
          </p:cNvPr>
          <p:cNvGrpSpPr/>
          <p:nvPr/>
        </p:nvGrpSpPr>
        <p:grpSpPr>
          <a:xfrm>
            <a:off x="3312161" y="3576421"/>
            <a:ext cx="544944" cy="395432"/>
            <a:chOff x="3569535" y="3576421"/>
            <a:chExt cx="544944" cy="395432"/>
          </a:xfrm>
        </p:grpSpPr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172BA79E-B944-48E5-8992-0778B6AFFD6D}"/>
                </a:ext>
              </a:extLst>
            </p:cNvPr>
            <p:cNvSpPr txBox="1"/>
            <p:nvPr/>
          </p:nvSpPr>
          <p:spPr>
            <a:xfrm>
              <a:off x="3569535" y="3833354"/>
              <a:ext cx="54494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commendations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7" name="Picture 566">
              <a:extLst>
                <a:ext uri="{FF2B5EF4-FFF2-40B4-BE49-F238E27FC236}">
                  <a16:creationId xmlns:a16="http://schemas.microsoft.com/office/drawing/2014/main" id="{64EB3BA2-B3FE-4B51-AE3E-D1D7BB7F3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9"/>
            <a:stretch>
              <a:fillRect/>
            </a:stretch>
          </p:blipFill>
          <p:spPr>
            <a:xfrm>
              <a:off x="3741436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9267AEA-4A84-45DB-B5D4-F545D6243896}"/>
              </a:ext>
            </a:extLst>
          </p:cNvPr>
          <p:cNvGrpSpPr/>
          <p:nvPr/>
        </p:nvGrpSpPr>
        <p:grpSpPr>
          <a:xfrm>
            <a:off x="3906710" y="3576421"/>
            <a:ext cx="535327" cy="395475"/>
            <a:chOff x="4258906" y="3576421"/>
            <a:chExt cx="535327" cy="395475"/>
          </a:xfrm>
        </p:grpSpPr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5E9198E2-9885-480A-B5AA-EC147143366F}"/>
                </a:ext>
              </a:extLst>
            </p:cNvPr>
            <p:cNvSpPr txBox="1"/>
            <p:nvPr/>
          </p:nvSpPr>
          <p:spPr>
            <a:xfrm>
              <a:off x="4258906" y="3833353"/>
              <a:ext cx="535327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nowledg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ploration 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8" name="Picture 567">
              <a:extLst>
                <a:ext uri="{FF2B5EF4-FFF2-40B4-BE49-F238E27FC236}">
                  <a16:creationId xmlns:a16="http://schemas.microsoft.com/office/drawing/2014/main" id="{F4A523FF-D84A-4D05-AC59-1656F698E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0"/>
            <a:stretch>
              <a:fillRect/>
            </a:stretch>
          </p:blipFill>
          <p:spPr>
            <a:xfrm>
              <a:off x="4425998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D37F247-BB5A-4A1F-BB7F-17DF6C138414}"/>
              </a:ext>
            </a:extLst>
          </p:cNvPr>
          <p:cNvGrpSpPr/>
          <p:nvPr/>
        </p:nvGrpSpPr>
        <p:grpSpPr>
          <a:xfrm>
            <a:off x="4532279" y="3576421"/>
            <a:ext cx="429544" cy="395475"/>
            <a:chOff x="4938659" y="3576421"/>
            <a:chExt cx="429544" cy="395475"/>
          </a:xfrm>
        </p:grpSpPr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B0A59293-345C-4874-A77D-1C62D9F6B421}"/>
                </a:ext>
              </a:extLst>
            </p:cNvPr>
            <p:cNvSpPr txBox="1"/>
            <p:nvPr/>
          </p:nvSpPr>
          <p:spPr>
            <a:xfrm>
              <a:off x="4938659" y="3833353"/>
              <a:ext cx="429544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ademic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nowledge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69" name="Picture 568">
              <a:extLst>
                <a:ext uri="{FF2B5EF4-FFF2-40B4-BE49-F238E27FC236}">
                  <a16:creationId xmlns:a16="http://schemas.microsoft.com/office/drawing/2014/main" id="{3B5C6397-AD9B-4C18-8928-98269526A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2"/>
            <a:stretch>
              <a:fillRect/>
            </a:stretch>
          </p:blipFill>
          <p:spPr>
            <a:xfrm>
              <a:off x="5052860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F1A76D9-8620-41B4-898C-4BB1CC8C571F}"/>
              </a:ext>
            </a:extLst>
          </p:cNvPr>
          <p:cNvGrpSpPr/>
          <p:nvPr/>
        </p:nvGrpSpPr>
        <p:grpSpPr>
          <a:xfrm>
            <a:off x="5031746" y="3576421"/>
            <a:ext cx="618671" cy="395475"/>
            <a:chOff x="5512629" y="3576421"/>
            <a:chExt cx="618671" cy="395475"/>
          </a:xfrm>
        </p:grpSpPr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7F436E3C-907D-4F64-AF96-A0F681D5A8BA}"/>
                </a:ext>
              </a:extLst>
            </p:cNvPr>
            <p:cNvSpPr txBox="1"/>
            <p:nvPr/>
          </p:nvSpPr>
          <p:spPr>
            <a:xfrm>
              <a:off x="5512629" y="3833353"/>
              <a:ext cx="618671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tity Linking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telligent Service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0" name="Picture 569">
              <a:extLst>
                <a:ext uri="{FF2B5EF4-FFF2-40B4-BE49-F238E27FC236}">
                  <a16:creationId xmlns:a16="http://schemas.microsoft.com/office/drawing/2014/main" id="{4D7257F6-94E9-45BD-9CD3-69F581D46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4"/>
            <a:stretch>
              <a:fillRect/>
            </a:stretch>
          </p:blipFill>
          <p:spPr>
            <a:xfrm>
              <a:off x="5721394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86E0865-84A7-47B8-B995-9888EB89D8E2}"/>
              </a:ext>
            </a:extLst>
          </p:cNvPr>
          <p:cNvGrpSpPr/>
          <p:nvPr/>
        </p:nvGrpSpPr>
        <p:grpSpPr>
          <a:xfrm>
            <a:off x="5760980" y="3576421"/>
            <a:ext cx="225991" cy="395432"/>
            <a:chOff x="6275728" y="3576421"/>
            <a:chExt cx="225991" cy="395432"/>
          </a:xfrm>
        </p:grpSpPr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18C6969F-9167-43DA-BC52-D9F0A2F3761B}"/>
                </a:ext>
              </a:extLst>
            </p:cNvPr>
            <p:cNvSpPr txBox="1"/>
            <p:nvPr/>
          </p:nvSpPr>
          <p:spPr>
            <a:xfrm>
              <a:off x="6275728" y="3833354"/>
              <a:ext cx="2259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swer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1" name="Picture 570">
              <a:extLst>
                <a:ext uri="{FF2B5EF4-FFF2-40B4-BE49-F238E27FC236}">
                  <a16:creationId xmlns:a16="http://schemas.microsoft.com/office/drawing/2014/main" id="{37EDE37E-E19B-47B8-883F-1C9DBA6A9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6"/>
            <a:stretch>
              <a:fillRect/>
            </a:stretch>
          </p:blipFill>
          <p:spPr>
            <a:xfrm>
              <a:off x="6288151" y="3576421"/>
              <a:ext cx="201142" cy="201140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3416B19-8DC0-437D-AE58-DEAC44EA4AA1}"/>
              </a:ext>
            </a:extLst>
          </p:cNvPr>
          <p:cNvGrpSpPr/>
          <p:nvPr/>
        </p:nvGrpSpPr>
        <p:grpSpPr>
          <a:xfrm>
            <a:off x="6131396" y="3576421"/>
            <a:ext cx="217977" cy="395475"/>
            <a:chOff x="6646144" y="3576421"/>
            <a:chExt cx="217977" cy="395475"/>
          </a:xfrm>
        </p:grpSpPr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3A35A0A5-FD19-426F-B94A-8D635727AFE5}"/>
                </a:ext>
              </a:extLst>
            </p:cNvPr>
            <p:cNvSpPr txBox="1"/>
            <p:nvPr/>
          </p:nvSpPr>
          <p:spPr>
            <a:xfrm>
              <a:off x="6646144" y="3833353"/>
              <a:ext cx="217977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RL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9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eview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2" name="Picture 571">
              <a:extLst>
                <a:ext uri="{FF2B5EF4-FFF2-40B4-BE49-F238E27FC236}">
                  <a16:creationId xmlns:a16="http://schemas.microsoft.com/office/drawing/2014/main" id="{DE118AEE-D156-4B84-805D-7B89C0ECD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98"/>
            <a:stretch>
              <a:fillRect/>
            </a:stretch>
          </p:blipFill>
          <p:spPr>
            <a:xfrm>
              <a:off x="6646144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75712FC-061D-4B16-AF7E-359FEC3856B1}"/>
              </a:ext>
            </a:extLst>
          </p:cNvPr>
          <p:cNvGrpSpPr/>
          <p:nvPr/>
        </p:nvGrpSpPr>
        <p:grpSpPr>
          <a:xfrm>
            <a:off x="6493800" y="3576421"/>
            <a:ext cx="266060" cy="395432"/>
            <a:chOff x="7008548" y="3576421"/>
            <a:chExt cx="266060" cy="395432"/>
          </a:xfrm>
        </p:grpSpPr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C1DE4055-1D05-429C-82C2-271BE658CE75}"/>
                </a:ext>
              </a:extLst>
            </p:cNvPr>
            <p:cNvSpPr txBox="1"/>
            <p:nvPr/>
          </p:nvSpPr>
          <p:spPr>
            <a:xfrm>
              <a:off x="7008548" y="3833354"/>
              <a:ext cx="26606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44930">
                <a:lnSpc>
                  <a:spcPct val="90000"/>
                </a:lnSpc>
                <a:defRPr/>
              </a:pPr>
              <a:r>
                <a:rPr lang="en-US" sz="500">
                  <a:solidFill>
                    <a:srgbClr val="000000"/>
                  </a:solidFill>
                  <a:latin typeface="Segoe UI" panose="020B0502040204020203" pitchFamily="34" charset="0"/>
                  <a:hlinkClick r:id="rId29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omaly </a:t>
              </a:r>
            </a:p>
            <a:p>
              <a:pPr algn="ctr" defTabSz="244930">
                <a:lnSpc>
                  <a:spcPct val="90000"/>
                </a:lnSpc>
                <a:defRPr/>
              </a:pPr>
              <a:r>
                <a:rPr lang="en-US" sz="500">
                  <a:solidFill>
                    <a:srgbClr val="000000"/>
                  </a:solidFill>
                  <a:latin typeface="Segoe UI" panose="020B0502040204020203" pitchFamily="34" charset="0"/>
                  <a:hlinkClick r:id="rId29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tector</a:t>
              </a:r>
              <a:endParaRPr lang="en-US" sz="500">
                <a:solidFill>
                  <a:srgbClr val="000000"/>
                </a:solidFill>
                <a:latin typeface="Segoe UI" panose="020B0502040204020203" pitchFamily="34" charset="0"/>
              </a:endParaRPr>
            </a:p>
          </p:txBody>
        </p:sp>
        <p:pic>
          <p:nvPicPr>
            <p:cNvPr id="573" name="Picture 572">
              <a:extLst>
                <a:ext uri="{FF2B5EF4-FFF2-40B4-BE49-F238E27FC236}">
                  <a16:creationId xmlns:a16="http://schemas.microsoft.com/office/drawing/2014/main" id="{64256302-850A-4BEB-977A-5F6A1D46D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0"/>
            <a:stretch>
              <a:fillRect/>
            </a:stretch>
          </p:blipFill>
          <p:spPr>
            <a:xfrm>
              <a:off x="7041008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B8602CD-01AC-4EC7-BE97-8B9C28A9BA1F}"/>
              </a:ext>
            </a:extLst>
          </p:cNvPr>
          <p:cNvGrpSpPr/>
          <p:nvPr/>
        </p:nvGrpSpPr>
        <p:grpSpPr>
          <a:xfrm>
            <a:off x="6836557" y="3576421"/>
            <a:ext cx="371845" cy="395475"/>
            <a:chOff x="7419035" y="3576421"/>
            <a:chExt cx="371845" cy="395475"/>
          </a:xfrm>
        </p:grpSpPr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F5D072A9-EF0F-4A03-918B-96F792DF51CB}"/>
                </a:ext>
              </a:extLst>
            </p:cNvPr>
            <p:cNvSpPr txBox="1"/>
            <p:nvPr/>
          </p:nvSpPr>
          <p:spPr>
            <a:xfrm>
              <a:off x="7419035" y="3833353"/>
              <a:ext cx="371845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versation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Learn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4" name="Picture 573">
              <a:extLst>
                <a:ext uri="{FF2B5EF4-FFF2-40B4-BE49-F238E27FC236}">
                  <a16:creationId xmlns:a16="http://schemas.microsoft.com/office/drawing/2014/main" id="{007C6A69-0692-4EE4-B0A7-05AE1458B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2"/>
            <a:stretch>
              <a:fillRect/>
            </a:stretch>
          </p:blipFill>
          <p:spPr>
            <a:xfrm>
              <a:off x="7504386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8F41E415-9414-419F-B6D8-57ECDD2F87A7}"/>
              </a:ext>
            </a:extLst>
          </p:cNvPr>
          <p:cNvGrpSpPr/>
          <p:nvPr/>
        </p:nvGrpSpPr>
        <p:grpSpPr>
          <a:xfrm>
            <a:off x="7318962" y="3576421"/>
            <a:ext cx="317350" cy="395475"/>
            <a:chOff x="7935305" y="3576421"/>
            <a:chExt cx="317350" cy="395475"/>
          </a:xfrm>
        </p:grpSpPr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525ADCE8-D770-4C88-86BF-822CE8F4F92A}"/>
                </a:ext>
              </a:extLst>
            </p:cNvPr>
            <p:cNvSpPr txBox="1"/>
            <p:nvPr/>
          </p:nvSpPr>
          <p:spPr>
            <a:xfrm>
              <a:off x="7935305" y="3833353"/>
              <a:ext cx="317350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News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5" name="Picture 574">
              <a:extLst>
                <a:ext uri="{FF2B5EF4-FFF2-40B4-BE49-F238E27FC236}">
                  <a16:creationId xmlns:a16="http://schemas.microsoft.com/office/drawing/2014/main" id="{C02E5DBA-B0E8-4519-A9AE-70C15960D9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4"/>
            <a:stretch>
              <a:fillRect/>
            </a:stretch>
          </p:blipFill>
          <p:spPr>
            <a:xfrm>
              <a:off x="7993411" y="3576421"/>
              <a:ext cx="201139" cy="201140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EF6EE91-2636-49F0-A3BF-19D280BB40D1}"/>
              </a:ext>
            </a:extLst>
          </p:cNvPr>
          <p:cNvGrpSpPr/>
          <p:nvPr/>
        </p:nvGrpSpPr>
        <p:grpSpPr>
          <a:xfrm>
            <a:off x="7780739" y="3576421"/>
            <a:ext cx="328569" cy="395432"/>
            <a:chOff x="8397082" y="3576421"/>
            <a:chExt cx="328569" cy="395432"/>
          </a:xfrm>
        </p:grpSpPr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770F6747-24A9-4630-9A16-53427BF87A81}"/>
                </a:ext>
              </a:extLst>
            </p:cNvPr>
            <p:cNvSpPr txBox="1"/>
            <p:nvPr/>
          </p:nvSpPr>
          <p:spPr>
            <a:xfrm>
              <a:off x="8397082" y="3833354"/>
              <a:ext cx="32856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Video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6" name="Picture 575">
              <a:extLst>
                <a:ext uri="{FF2B5EF4-FFF2-40B4-BE49-F238E27FC236}">
                  <a16:creationId xmlns:a16="http://schemas.microsoft.com/office/drawing/2014/main" id="{C67664CC-7B40-4F45-B479-28DA2D6C5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6"/>
            <a:stretch>
              <a:fillRect/>
            </a:stretch>
          </p:blipFill>
          <p:spPr>
            <a:xfrm>
              <a:off x="8460797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2F238800-4A54-488F-93CA-234A72B4CCE6}"/>
              </a:ext>
            </a:extLst>
          </p:cNvPr>
          <p:cNvGrpSpPr/>
          <p:nvPr/>
        </p:nvGrpSpPr>
        <p:grpSpPr>
          <a:xfrm>
            <a:off x="8253735" y="3576421"/>
            <a:ext cx="299719" cy="395475"/>
            <a:chOff x="8870078" y="3576421"/>
            <a:chExt cx="299719" cy="395475"/>
          </a:xfrm>
        </p:grpSpPr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100E31E-1E84-454D-A45B-6DBFE484CF9E}"/>
                </a:ext>
              </a:extLst>
            </p:cNvPr>
            <p:cNvSpPr txBox="1"/>
            <p:nvPr/>
          </p:nvSpPr>
          <p:spPr>
            <a:xfrm>
              <a:off x="8870078" y="3833353"/>
              <a:ext cx="29971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Web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7" name="Picture 576">
              <a:extLst>
                <a:ext uri="{FF2B5EF4-FFF2-40B4-BE49-F238E27FC236}">
                  <a16:creationId xmlns:a16="http://schemas.microsoft.com/office/drawing/2014/main" id="{C69D4181-F422-497C-BE29-96B11FB86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8"/>
            <a:stretch>
              <a:fillRect/>
            </a:stretch>
          </p:blipFill>
          <p:spPr>
            <a:xfrm>
              <a:off x="8919367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454BDC8-1A94-482C-9E2C-2A332C9813E8}"/>
              </a:ext>
            </a:extLst>
          </p:cNvPr>
          <p:cNvGrpSpPr/>
          <p:nvPr/>
        </p:nvGrpSpPr>
        <p:grpSpPr>
          <a:xfrm>
            <a:off x="8697880" y="3576421"/>
            <a:ext cx="331775" cy="395432"/>
            <a:chOff x="9314223" y="3576421"/>
            <a:chExt cx="331775" cy="395432"/>
          </a:xfrm>
        </p:grpSpPr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EDF9A07D-5B51-46A3-883A-7D2308F70BDF}"/>
                </a:ext>
              </a:extLst>
            </p:cNvPr>
            <p:cNvSpPr txBox="1"/>
            <p:nvPr/>
          </p:nvSpPr>
          <p:spPr>
            <a:xfrm>
              <a:off x="9314223" y="3833354"/>
              <a:ext cx="3317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Visual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8" name="Picture 577">
              <a:extLst>
                <a:ext uri="{FF2B5EF4-FFF2-40B4-BE49-F238E27FC236}">
                  <a16:creationId xmlns:a16="http://schemas.microsoft.com/office/drawing/2014/main" id="{A402120D-5131-4393-BCD7-906726FDA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0"/>
            <a:stretch>
              <a:fillRect/>
            </a:stretch>
          </p:blipFill>
          <p:spPr>
            <a:xfrm>
              <a:off x="9379542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1D52091F-7AAC-443C-AEC4-AD82DFF88073}"/>
              </a:ext>
            </a:extLst>
          </p:cNvPr>
          <p:cNvGrpSpPr/>
          <p:nvPr/>
        </p:nvGrpSpPr>
        <p:grpSpPr>
          <a:xfrm>
            <a:off x="9119898" y="3576421"/>
            <a:ext cx="474422" cy="395432"/>
            <a:chOff x="9790425" y="3576421"/>
            <a:chExt cx="474422" cy="395432"/>
          </a:xfrm>
        </p:grpSpPr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A138404F-6A70-4F6A-946B-4A87A7518EAA}"/>
                </a:ext>
              </a:extLst>
            </p:cNvPr>
            <p:cNvSpPr txBox="1"/>
            <p:nvPr/>
          </p:nvSpPr>
          <p:spPr>
            <a:xfrm>
              <a:off x="9790425" y="3833354"/>
              <a:ext cx="4744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tosuggest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79" name="Picture 578">
              <a:extLst>
                <a:ext uri="{FF2B5EF4-FFF2-40B4-BE49-F238E27FC236}">
                  <a16:creationId xmlns:a16="http://schemas.microsoft.com/office/drawing/2014/main" id="{B78D061C-6608-484B-9762-1053AE231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2"/>
            <a:stretch>
              <a:fillRect/>
            </a:stretch>
          </p:blipFill>
          <p:spPr>
            <a:xfrm>
              <a:off x="9927066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CA56A0B-5358-4153-9F37-595980B76A65}"/>
              </a:ext>
            </a:extLst>
          </p:cNvPr>
          <p:cNvGrpSpPr/>
          <p:nvPr/>
        </p:nvGrpSpPr>
        <p:grpSpPr>
          <a:xfrm>
            <a:off x="9684563" y="3576421"/>
            <a:ext cx="381461" cy="395432"/>
            <a:chOff x="10409274" y="3576421"/>
            <a:chExt cx="381461" cy="395432"/>
          </a:xfrm>
        </p:grpSpPr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FEFF0268-EEC2-4E1E-84AF-65FA4668F950}"/>
                </a:ext>
              </a:extLst>
            </p:cNvPr>
            <p:cNvSpPr txBox="1"/>
            <p:nvPr/>
          </p:nvSpPr>
          <p:spPr>
            <a:xfrm>
              <a:off x="10409274" y="3833354"/>
              <a:ext cx="38146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Custom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80" name="Picture 579">
              <a:extLst>
                <a:ext uri="{FF2B5EF4-FFF2-40B4-BE49-F238E27FC236}">
                  <a16:creationId xmlns:a16="http://schemas.microsoft.com/office/drawing/2014/main" id="{8C7CFE16-5D26-4C5B-B437-17DC38841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4"/>
            <a:stretch>
              <a:fillRect/>
            </a:stretch>
          </p:blipFill>
          <p:spPr>
            <a:xfrm>
              <a:off x="10499433" y="3576421"/>
              <a:ext cx="201140" cy="201140"/>
            </a:xfrm>
            <a:prstGeom prst="rect">
              <a:avLst/>
            </a:prstGeom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1094049E-56F9-4D25-8567-9C010BE65EDB}"/>
              </a:ext>
            </a:extLst>
          </p:cNvPr>
          <p:cNvGrpSpPr/>
          <p:nvPr/>
        </p:nvGrpSpPr>
        <p:grpSpPr>
          <a:xfrm>
            <a:off x="10210450" y="3576421"/>
            <a:ext cx="323761" cy="395432"/>
            <a:chOff x="10935161" y="3576421"/>
            <a:chExt cx="323761" cy="395432"/>
          </a:xfrm>
        </p:grpSpPr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E4579172-FB9C-498C-8863-DD6781BD4B21}"/>
                </a:ext>
              </a:extLst>
            </p:cNvPr>
            <p:cNvSpPr txBox="1"/>
            <p:nvPr/>
          </p:nvSpPr>
          <p:spPr>
            <a:xfrm>
              <a:off x="10935161" y="3833354"/>
              <a:ext cx="32376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Entity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81" name="Picture 580">
              <a:extLst>
                <a:ext uri="{FF2B5EF4-FFF2-40B4-BE49-F238E27FC236}">
                  <a16:creationId xmlns:a16="http://schemas.microsoft.com/office/drawing/2014/main" id="{5BC15810-8B2E-45F7-97DB-29F0FF4D25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6"/>
            <a:stretch>
              <a:fillRect/>
            </a:stretch>
          </p:blipFill>
          <p:spPr>
            <a:xfrm>
              <a:off x="10996471" y="3576421"/>
              <a:ext cx="201141" cy="201140"/>
            </a:xfrm>
            <a:prstGeom prst="rect">
              <a:avLst/>
            </a:prstGeom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03944DE-BA6E-4709-880C-E6A82800B05A}"/>
              </a:ext>
            </a:extLst>
          </p:cNvPr>
          <p:cNvGrpSpPr/>
          <p:nvPr/>
        </p:nvGrpSpPr>
        <p:grpSpPr>
          <a:xfrm>
            <a:off x="10678637" y="3576421"/>
            <a:ext cx="339789" cy="395432"/>
            <a:chOff x="11403348" y="3576421"/>
            <a:chExt cx="339789" cy="395432"/>
          </a:xfrm>
        </p:grpSpPr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6632BD47-25BE-4071-8ECC-B0C5572C000E}"/>
                </a:ext>
              </a:extLst>
            </p:cNvPr>
            <p:cNvSpPr txBox="1"/>
            <p:nvPr/>
          </p:nvSpPr>
          <p:spPr>
            <a:xfrm>
              <a:off x="11403348" y="3833354"/>
              <a:ext cx="33978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Image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arch AP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82" name="Picture 581">
              <a:extLst>
                <a:ext uri="{FF2B5EF4-FFF2-40B4-BE49-F238E27FC236}">
                  <a16:creationId xmlns:a16="http://schemas.microsoft.com/office/drawing/2014/main" id="{8D475813-BFA6-466B-90A1-BB28EA8378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8"/>
            <a:stretch>
              <a:fillRect/>
            </a:stretch>
          </p:blipFill>
          <p:spPr>
            <a:xfrm>
              <a:off x="11472673" y="3576421"/>
              <a:ext cx="201139" cy="201140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AE7B1C1-242B-475B-98AA-B1D6E6057356}"/>
              </a:ext>
            </a:extLst>
          </p:cNvPr>
          <p:cNvGrpSpPr/>
          <p:nvPr/>
        </p:nvGrpSpPr>
        <p:grpSpPr>
          <a:xfrm>
            <a:off x="11162862" y="3576421"/>
            <a:ext cx="242020" cy="395475"/>
            <a:chOff x="11887573" y="3576421"/>
            <a:chExt cx="242020" cy="395475"/>
          </a:xfrm>
        </p:grpSpPr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53C10F0F-CCB8-4E0C-8E22-8A710D4AF446}"/>
                </a:ext>
              </a:extLst>
            </p:cNvPr>
            <p:cNvSpPr txBox="1"/>
            <p:nvPr/>
          </p:nvSpPr>
          <p:spPr>
            <a:xfrm>
              <a:off x="11887573" y="3833353"/>
              <a:ext cx="242020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8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en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8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set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583" name="Picture 582">
              <a:extLst>
                <a:ext uri="{FF2B5EF4-FFF2-40B4-BE49-F238E27FC236}">
                  <a16:creationId xmlns:a16="http://schemas.microsoft.com/office/drawing/2014/main" id="{F78F753D-79E9-41DB-B496-27CD817A4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50"/>
            <a:stretch>
              <a:fillRect/>
            </a:stretch>
          </p:blipFill>
          <p:spPr>
            <a:xfrm>
              <a:off x="11908013" y="3576421"/>
              <a:ext cx="201140" cy="201140"/>
            </a:xfrm>
            <a:prstGeom prst="rect">
              <a:avLst/>
            </a:prstGeom>
          </p:spPr>
        </p:pic>
      </p:grpSp>
      <p:pic>
        <p:nvPicPr>
          <p:cNvPr id="585" name="Picture 584">
            <a:extLst>
              <a:ext uri="{FF2B5EF4-FFF2-40B4-BE49-F238E27FC236}">
                <a16:creationId xmlns:a16="http://schemas.microsoft.com/office/drawing/2014/main" id="{FEAB47C0-6870-4A09-9453-172E74F37C70}"/>
              </a:ext>
            </a:extLst>
          </p:cNvPr>
          <p:cNvPicPr>
            <a:picLocks noChangeAspect="1"/>
          </p:cNvPicPr>
          <p:nvPr/>
        </p:nvPicPr>
        <p:blipFill>
          <a:blip r:embed="rId319"/>
          <a:stretch>
            <a:fillRect/>
          </a:stretch>
        </p:blipFill>
        <p:spPr>
          <a:xfrm>
            <a:off x="1342930" y="4098012"/>
            <a:ext cx="192257" cy="192256"/>
          </a:xfrm>
          <a:prstGeom prst="rect">
            <a:avLst/>
          </a:prstGeom>
        </p:spPr>
      </p:pic>
      <p:pic>
        <p:nvPicPr>
          <p:cNvPr id="586" name="Picture 585">
            <a:extLst>
              <a:ext uri="{FF2B5EF4-FFF2-40B4-BE49-F238E27FC236}">
                <a16:creationId xmlns:a16="http://schemas.microsoft.com/office/drawing/2014/main" id="{BFC10A8A-2C45-4999-9D4A-1BD8FF04AFBD}"/>
              </a:ext>
            </a:extLst>
          </p:cNvPr>
          <p:cNvPicPr>
            <a:picLocks noChangeAspect="1"/>
          </p:cNvPicPr>
          <p:nvPr/>
        </p:nvPicPr>
        <p:blipFill>
          <a:blip r:embed="rId320"/>
          <a:stretch>
            <a:fillRect/>
          </a:stretch>
        </p:blipFill>
        <p:spPr>
          <a:xfrm>
            <a:off x="1713414" y="4076153"/>
            <a:ext cx="235987" cy="235987"/>
          </a:xfrm>
          <a:prstGeom prst="rect">
            <a:avLst/>
          </a:prstGeom>
        </p:spPr>
      </p:pic>
      <p:pic>
        <p:nvPicPr>
          <p:cNvPr id="587" name="Picture 586">
            <a:extLst>
              <a:ext uri="{FF2B5EF4-FFF2-40B4-BE49-F238E27FC236}">
                <a16:creationId xmlns:a16="http://schemas.microsoft.com/office/drawing/2014/main" id="{3E86B05B-3BFC-45C8-A5DA-9286F5C361EC}"/>
              </a:ext>
            </a:extLst>
          </p:cNvPr>
          <p:cNvPicPr>
            <a:picLocks noChangeAspect="1"/>
          </p:cNvPicPr>
          <p:nvPr/>
        </p:nvPicPr>
        <p:blipFill>
          <a:blip r:embed="rId321"/>
          <a:stretch>
            <a:fillRect/>
          </a:stretch>
        </p:blipFill>
        <p:spPr>
          <a:xfrm>
            <a:off x="2187837" y="4076552"/>
            <a:ext cx="213716" cy="213716"/>
          </a:xfrm>
          <a:prstGeom prst="rect">
            <a:avLst/>
          </a:prstGeom>
        </p:spPr>
      </p:pic>
      <p:pic>
        <p:nvPicPr>
          <p:cNvPr id="588" name="Picture 587">
            <a:extLst>
              <a:ext uri="{FF2B5EF4-FFF2-40B4-BE49-F238E27FC236}">
                <a16:creationId xmlns:a16="http://schemas.microsoft.com/office/drawing/2014/main" id="{E7265FC6-EE8F-40E2-B0C4-5B8CE0E5A3EB}"/>
              </a:ext>
            </a:extLst>
          </p:cNvPr>
          <p:cNvPicPr>
            <a:picLocks noChangeAspect="1"/>
          </p:cNvPicPr>
          <p:nvPr/>
        </p:nvPicPr>
        <p:blipFill>
          <a:blip r:embed="rId322"/>
          <a:stretch>
            <a:fillRect/>
          </a:stretch>
        </p:blipFill>
        <p:spPr>
          <a:xfrm>
            <a:off x="2610526" y="4074159"/>
            <a:ext cx="216109" cy="216109"/>
          </a:xfrm>
          <a:prstGeom prst="rect">
            <a:avLst/>
          </a:prstGeom>
        </p:spPr>
      </p:pic>
      <p:pic>
        <p:nvPicPr>
          <p:cNvPr id="589" name="Picture 588">
            <a:extLst>
              <a:ext uri="{FF2B5EF4-FFF2-40B4-BE49-F238E27FC236}">
                <a16:creationId xmlns:a16="http://schemas.microsoft.com/office/drawing/2014/main" id="{FAE03780-11B0-4EBF-8D4D-4A90D65644D1}"/>
              </a:ext>
            </a:extLst>
          </p:cNvPr>
          <p:cNvPicPr>
            <a:picLocks noChangeAspect="1"/>
          </p:cNvPicPr>
          <p:nvPr/>
        </p:nvPicPr>
        <p:blipFill>
          <a:blip r:embed="rId323"/>
          <a:stretch>
            <a:fillRect/>
          </a:stretch>
        </p:blipFill>
        <p:spPr>
          <a:xfrm>
            <a:off x="3130041" y="4074159"/>
            <a:ext cx="216109" cy="216109"/>
          </a:xfrm>
          <a:prstGeom prst="rect">
            <a:avLst/>
          </a:prstGeom>
        </p:spPr>
      </p:pic>
      <p:pic>
        <p:nvPicPr>
          <p:cNvPr id="591" name="Picture 590">
            <a:extLst>
              <a:ext uri="{FF2B5EF4-FFF2-40B4-BE49-F238E27FC236}">
                <a16:creationId xmlns:a16="http://schemas.microsoft.com/office/drawing/2014/main" id="{A4B99E8B-E956-4F66-91CB-95206BB0B420}"/>
              </a:ext>
            </a:extLst>
          </p:cNvPr>
          <p:cNvPicPr>
            <a:picLocks noChangeAspect="1"/>
          </p:cNvPicPr>
          <p:nvPr/>
        </p:nvPicPr>
        <p:blipFill>
          <a:blip r:embed="rId324"/>
          <a:stretch>
            <a:fillRect/>
          </a:stretch>
        </p:blipFill>
        <p:spPr>
          <a:xfrm>
            <a:off x="4264173" y="4074159"/>
            <a:ext cx="216109" cy="216109"/>
          </a:xfrm>
          <a:prstGeom prst="rect">
            <a:avLst/>
          </a:prstGeom>
        </p:spPr>
      </p:pic>
      <p:pic>
        <p:nvPicPr>
          <p:cNvPr id="593" name="Picture 592">
            <a:extLst>
              <a:ext uri="{FF2B5EF4-FFF2-40B4-BE49-F238E27FC236}">
                <a16:creationId xmlns:a16="http://schemas.microsoft.com/office/drawing/2014/main" id="{ADAF6921-B2D2-470E-8E27-61FECD4B412B}"/>
              </a:ext>
            </a:extLst>
          </p:cNvPr>
          <p:cNvPicPr>
            <a:picLocks noChangeAspect="1"/>
          </p:cNvPicPr>
          <p:nvPr/>
        </p:nvPicPr>
        <p:blipFill>
          <a:blip r:embed="rId325"/>
          <a:stretch>
            <a:fillRect/>
          </a:stretch>
        </p:blipFill>
        <p:spPr>
          <a:xfrm>
            <a:off x="5360624" y="4126489"/>
            <a:ext cx="159682" cy="159681"/>
          </a:xfrm>
          <a:prstGeom prst="rect">
            <a:avLst/>
          </a:prstGeom>
        </p:spPr>
      </p:pic>
      <p:pic>
        <p:nvPicPr>
          <p:cNvPr id="594" name="Picture 593">
            <a:extLst>
              <a:ext uri="{FF2B5EF4-FFF2-40B4-BE49-F238E27FC236}">
                <a16:creationId xmlns:a16="http://schemas.microsoft.com/office/drawing/2014/main" id="{A1458701-EF83-42F0-A8C6-2E47AAD3472C}"/>
              </a:ext>
            </a:extLst>
          </p:cNvPr>
          <p:cNvPicPr>
            <a:picLocks noChangeAspect="1"/>
          </p:cNvPicPr>
          <p:nvPr/>
        </p:nvPicPr>
        <p:blipFill>
          <a:blip r:embed="rId326"/>
          <a:stretch>
            <a:fillRect/>
          </a:stretch>
        </p:blipFill>
        <p:spPr>
          <a:xfrm>
            <a:off x="5772194" y="4126489"/>
            <a:ext cx="159682" cy="159682"/>
          </a:xfrm>
          <a:prstGeom prst="rect">
            <a:avLst/>
          </a:prstGeom>
        </p:spPr>
      </p:pic>
      <p:pic>
        <p:nvPicPr>
          <p:cNvPr id="595" name="Picture 594">
            <a:extLst>
              <a:ext uri="{FF2B5EF4-FFF2-40B4-BE49-F238E27FC236}">
                <a16:creationId xmlns:a16="http://schemas.microsoft.com/office/drawing/2014/main" id="{305D06ED-06E1-4CF2-A4D6-E8BA7E3D053D}"/>
              </a:ext>
            </a:extLst>
          </p:cNvPr>
          <p:cNvPicPr>
            <a:picLocks noChangeAspect="1"/>
          </p:cNvPicPr>
          <p:nvPr/>
        </p:nvPicPr>
        <p:blipFill>
          <a:blip r:embed="rId327"/>
          <a:stretch>
            <a:fillRect/>
          </a:stretch>
        </p:blipFill>
        <p:spPr>
          <a:xfrm>
            <a:off x="6222231" y="4126489"/>
            <a:ext cx="159682" cy="159682"/>
          </a:xfrm>
          <a:prstGeom prst="rect">
            <a:avLst/>
          </a:prstGeom>
        </p:spPr>
      </p:pic>
      <p:pic>
        <p:nvPicPr>
          <p:cNvPr id="596" name="Picture 595">
            <a:extLst>
              <a:ext uri="{FF2B5EF4-FFF2-40B4-BE49-F238E27FC236}">
                <a16:creationId xmlns:a16="http://schemas.microsoft.com/office/drawing/2014/main" id="{1BC66CA9-BD2F-48E8-B81A-D3994036D13E}"/>
              </a:ext>
            </a:extLst>
          </p:cNvPr>
          <p:cNvPicPr>
            <a:picLocks noChangeAspect="1"/>
          </p:cNvPicPr>
          <p:nvPr/>
        </p:nvPicPr>
        <p:blipFill>
          <a:blip r:embed="rId328"/>
          <a:stretch>
            <a:fillRect/>
          </a:stretch>
        </p:blipFill>
        <p:spPr>
          <a:xfrm>
            <a:off x="6615369" y="4126489"/>
            <a:ext cx="159682" cy="159682"/>
          </a:xfrm>
          <a:prstGeom prst="rect">
            <a:avLst/>
          </a:prstGeom>
        </p:spPr>
      </p:pic>
      <p:pic>
        <p:nvPicPr>
          <p:cNvPr id="597" name="Picture 596">
            <a:extLst>
              <a:ext uri="{FF2B5EF4-FFF2-40B4-BE49-F238E27FC236}">
                <a16:creationId xmlns:a16="http://schemas.microsoft.com/office/drawing/2014/main" id="{2C562C87-68FB-4706-B807-EC88ACDDAFAB}"/>
              </a:ext>
            </a:extLst>
          </p:cNvPr>
          <p:cNvPicPr>
            <a:picLocks noChangeAspect="1"/>
          </p:cNvPicPr>
          <p:nvPr/>
        </p:nvPicPr>
        <p:blipFill>
          <a:blip r:embed="rId329"/>
          <a:stretch>
            <a:fillRect/>
          </a:stretch>
        </p:blipFill>
        <p:spPr>
          <a:xfrm>
            <a:off x="7096659" y="4126489"/>
            <a:ext cx="159682" cy="159682"/>
          </a:xfrm>
          <a:prstGeom prst="rect">
            <a:avLst/>
          </a:prstGeom>
        </p:spPr>
      </p:pic>
      <p:pic>
        <p:nvPicPr>
          <p:cNvPr id="598" name="Picture 597">
            <a:extLst>
              <a:ext uri="{FF2B5EF4-FFF2-40B4-BE49-F238E27FC236}">
                <a16:creationId xmlns:a16="http://schemas.microsoft.com/office/drawing/2014/main" id="{B1810486-D3AA-454A-886E-ED9EE91861FA}"/>
              </a:ext>
            </a:extLst>
          </p:cNvPr>
          <p:cNvPicPr>
            <a:picLocks noChangeAspect="1"/>
          </p:cNvPicPr>
          <p:nvPr/>
        </p:nvPicPr>
        <p:blipFill rotWithShape="1">
          <a:blip r:embed="rId330"/>
          <a:srcRect t="19235" b="19235"/>
          <a:stretch/>
        </p:blipFill>
        <p:spPr>
          <a:xfrm>
            <a:off x="7610864" y="4168269"/>
            <a:ext cx="191621" cy="117902"/>
          </a:xfrm>
          <a:prstGeom prst="rect">
            <a:avLst/>
          </a:prstGeom>
        </p:spPr>
      </p:pic>
      <p:pic>
        <p:nvPicPr>
          <p:cNvPr id="599" name="Picture 598">
            <a:extLst>
              <a:ext uri="{FF2B5EF4-FFF2-40B4-BE49-F238E27FC236}">
                <a16:creationId xmlns:a16="http://schemas.microsoft.com/office/drawing/2014/main" id="{EB459119-DE31-42D8-BF4F-11201E93A77E}"/>
              </a:ext>
            </a:extLst>
          </p:cNvPr>
          <p:cNvPicPr>
            <a:picLocks noChangeAspect="1"/>
          </p:cNvPicPr>
          <p:nvPr/>
        </p:nvPicPr>
        <p:blipFill>
          <a:blip r:embed="rId325"/>
          <a:stretch>
            <a:fillRect/>
          </a:stretch>
        </p:blipFill>
        <p:spPr>
          <a:xfrm>
            <a:off x="8129762" y="4126489"/>
            <a:ext cx="159682" cy="159682"/>
          </a:xfrm>
          <a:prstGeom prst="rect">
            <a:avLst/>
          </a:prstGeom>
        </p:spPr>
      </p:pic>
      <p:pic>
        <p:nvPicPr>
          <p:cNvPr id="600" name="Picture 599">
            <a:extLst>
              <a:ext uri="{FF2B5EF4-FFF2-40B4-BE49-F238E27FC236}">
                <a16:creationId xmlns:a16="http://schemas.microsoft.com/office/drawing/2014/main" id="{D1EED639-5C03-4B71-966A-71123994A7A5}"/>
              </a:ext>
            </a:extLst>
          </p:cNvPr>
          <p:cNvPicPr>
            <a:picLocks noChangeAspect="1"/>
          </p:cNvPicPr>
          <p:nvPr/>
        </p:nvPicPr>
        <p:blipFill>
          <a:blip r:embed="rId331"/>
          <a:stretch>
            <a:fillRect/>
          </a:stretch>
        </p:blipFill>
        <p:spPr>
          <a:xfrm>
            <a:off x="9200299" y="4126489"/>
            <a:ext cx="170177" cy="170177"/>
          </a:xfrm>
          <a:prstGeom prst="rect">
            <a:avLst/>
          </a:prstGeom>
        </p:spPr>
      </p:pic>
      <p:pic>
        <p:nvPicPr>
          <p:cNvPr id="601" name="Picture 600">
            <a:extLst>
              <a:ext uri="{FF2B5EF4-FFF2-40B4-BE49-F238E27FC236}">
                <a16:creationId xmlns:a16="http://schemas.microsoft.com/office/drawing/2014/main" id="{CAC6DBD1-3C11-4B2C-B9E9-B5EB3E5505FE}"/>
              </a:ext>
            </a:extLst>
          </p:cNvPr>
          <p:cNvPicPr>
            <a:picLocks noChangeAspect="1"/>
          </p:cNvPicPr>
          <p:nvPr/>
        </p:nvPicPr>
        <p:blipFill>
          <a:blip r:embed="rId325"/>
          <a:stretch>
            <a:fillRect/>
          </a:stretch>
        </p:blipFill>
        <p:spPr>
          <a:xfrm>
            <a:off x="9480918" y="4126488"/>
            <a:ext cx="170176" cy="170176"/>
          </a:xfrm>
          <a:prstGeom prst="rect">
            <a:avLst/>
          </a:prstGeom>
        </p:spPr>
      </p:pic>
      <p:pic>
        <p:nvPicPr>
          <p:cNvPr id="602" name="Picture 601">
            <a:extLst>
              <a:ext uri="{FF2B5EF4-FFF2-40B4-BE49-F238E27FC236}">
                <a16:creationId xmlns:a16="http://schemas.microsoft.com/office/drawing/2014/main" id="{391BFD7C-554D-4EAB-91A5-2C0F8171F3EF}"/>
              </a:ext>
            </a:extLst>
          </p:cNvPr>
          <p:cNvPicPr>
            <a:picLocks noChangeAspect="1"/>
          </p:cNvPicPr>
          <p:nvPr/>
        </p:nvPicPr>
        <p:blipFill>
          <a:blip r:embed="rId332"/>
          <a:stretch>
            <a:fillRect/>
          </a:stretch>
        </p:blipFill>
        <p:spPr>
          <a:xfrm>
            <a:off x="9832881" y="4126488"/>
            <a:ext cx="170177" cy="170176"/>
          </a:xfrm>
          <a:prstGeom prst="rect">
            <a:avLst/>
          </a:prstGeom>
        </p:spPr>
      </p:pic>
      <p:pic>
        <p:nvPicPr>
          <p:cNvPr id="603" name="Picture 602">
            <a:extLst>
              <a:ext uri="{FF2B5EF4-FFF2-40B4-BE49-F238E27FC236}">
                <a16:creationId xmlns:a16="http://schemas.microsoft.com/office/drawing/2014/main" id="{A8D10FC2-3E83-4DA7-9E04-5D63A61A5777}"/>
              </a:ext>
            </a:extLst>
          </p:cNvPr>
          <p:cNvPicPr>
            <a:picLocks noChangeAspect="1"/>
          </p:cNvPicPr>
          <p:nvPr/>
        </p:nvPicPr>
        <p:blipFill>
          <a:blip r:embed="rId333"/>
          <a:stretch>
            <a:fillRect/>
          </a:stretch>
        </p:blipFill>
        <p:spPr>
          <a:xfrm>
            <a:off x="10163955" y="4126489"/>
            <a:ext cx="170177" cy="170176"/>
          </a:xfrm>
          <a:prstGeom prst="rect">
            <a:avLst/>
          </a:prstGeom>
        </p:spPr>
      </p:pic>
      <p:pic>
        <p:nvPicPr>
          <p:cNvPr id="604" name="Picture 603">
            <a:extLst>
              <a:ext uri="{FF2B5EF4-FFF2-40B4-BE49-F238E27FC236}">
                <a16:creationId xmlns:a16="http://schemas.microsoft.com/office/drawing/2014/main" id="{F1219D78-E155-4667-AE78-C5F600C02CBF}"/>
              </a:ext>
            </a:extLst>
          </p:cNvPr>
          <p:cNvPicPr>
            <a:picLocks noChangeAspect="1"/>
          </p:cNvPicPr>
          <p:nvPr/>
        </p:nvPicPr>
        <p:blipFill>
          <a:blip r:embed="rId329"/>
          <a:stretch>
            <a:fillRect/>
          </a:stretch>
        </p:blipFill>
        <p:spPr>
          <a:xfrm>
            <a:off x="10585763" y="4126489"/>
            <a:ext cx="170177" cy="170176"/>
          </a:xfrm>
          <a:prstGeom prst="rect">
            <a:avLst/>
          </a:prstGeom>
        </p:spPr>
      </p:pic>
      <p:pic>
        <p:nvPicPr>
          <p:cNvPr id="605" name="Picture 604">
            <a:extLst>
              <a:ext uri="{FF2B5EF4-FFF2-40B4-BE49-F238E27FC236}">
                <a16:creationId xmlns:a16="http://schemas.microsoft.com/office/drawing/2014/main" id="{49FC3D67-D4A7-4A69-BA95-458897B2A9A0}"/>
              </a:ext>
            </a:extLst>
          </p:cNvPr>
          <p:cNvPicPr>
            <a:picLocks noChangeAspect="1"/>
          </p:cNvPicPr>
          <p:nvPr/>
        </p:nvPicPr>
        <p:blipFill>
          <a:blip r:embed="rId334"/>
          <a:stretch>
            <a:fillRect/>
          </a:stretch>
        </p:blipFill>
        <p:spPr>
          <a:xfrm>
            <a:off x="11006131" y="4126488"/>
            <a:ext cx="170176" cy="170176"/>
          </a:xfrm>
          <a:prstGeom prst="rect">
            <a:avLst/>
          </a:prstGeom>
        </p:spPr>
      </p:pic>
      <p:pic>
        <p:nvPicPr>
          <p:cNvPr id="606" name="Picture 605">
            <a:extLst>
              <a:ext uri="{FF2B5EF4-FFF2-40B4-BE49-F238E27FC236}">
                <a16:creationId xmlns:a16="http://schemas.microsoft.com/office/drawing/2014/main" id="{53117BC6-B79F-41BF-BC57-96C9613DC3A9}"/>
              </a:ext>
            </a:extLst>
          </p:cNvPr>
          <p:cNvPicPr>
            <a:picLocks noChangeAspect="1"/>
          </p:cNvPicPr>
          <p:nvPr/>
        </p:nvPicPr>
        <p:blipFill>
          <a:blip r:embed="rId335"/>
          <a:stretch>
            <a:fillRect/>
          </a:stretch>
        </p:blipFill>
        <p:spPr>
          <a:xfrm>
            <a:off x="11350970" y="4126489"/>
            <a:ext cx="220055" cy="170177"/>
          </a:xfrm>
          <a:prstGeom prst="rect">
            <a:avLst/>
          </a:prstGeom>
        </p:spPr>
      </p:pic>
      <p:pic>
        <p:nvPicPr>
          <p:cNvPr id="607" name="Picture 606">
            <a:extLst>
              <a:ext uri="{FF2B5EF4-FFF2-40B4-BE49-F238E27FC236}">
                <a16:creationId xmlns:a16="http://schemas.microsoft.com/office/drawing/2014/main" id="{F021BEF3-5D0C-4ADB-B4F6-0F7FB6A573D6}"/>
              </a:ext>
            </a:extLst>
          </p:cNvPr>
          <p:cNvPicPr>
            <a:picLocks noChangeAspect="1"/>
          </p:cNvPicPr>
          <p:nvPr/>
        </p:nvPicPr>
        <p:blipFill>
          <a:blip r:embed="rId256"/>
          <a:stretch>
            <a:fillRect/>
          </a:stretch>
        </p:blipFill>
        <p:spPr>
          <a:xfrm>
            <a:off x="1086206" y="4636205"/>
            <a:ext cx="235360" cy="235360"/>
          </a:xfrm>
          <a:prstGeom prst="rect">
            <a:avLst/>
          </a:prstGeom>
        </p:spPr>
      </p:pic>
      <p:pic>
        <p:nvPicPr>
          <p:cNvPr id="608" name="Picture 607">
            <a:extLst>
              <a:ext uri="{FF2B5EF4-FFF2-40B4-BE49-F238E27FC236}">
                <a16:creationId xmlns:a16="http://schemas.microsoft.com/office/drawing/2014/main" id="{546D15BE-4007-4BA7-AF8A-ED4D21D77C3F}"/>
              </a:ext>
            </a:extLst>
          </p:cNvPr>
          <p:cNvPicPr>
            <a:picLocks noChangeAspect="1"/>
          </p:cNvPicPr>
          <p:nvPr/>
        </p:nvPicPr>
        <p:blipFill>
          <a:blip r:embed="rId336"/>
          <a:stretch>
            <a:fillRect/>
          </a:stretch>
        </p:blipFill>
        <p:spPr>
          <a:xfrm>
            <a:off x="1748715" y="4636204"/>
            <a:ext cx="160046" cy="235361"/>
          </a:xfrm>
          <a:prstGeom prst="rect">
            <a:avLst/>
          </a:prstGeom>
        </p:spPr>
      </p:pic>
      <p:pic>
        <p:nvPicPr>
          <p:cNvPr id="609" name="Picture 608">
            <a:extLst>
              <a:ext uri="{FF2B5EF4-FFF2-40B4-BE49-F238E27FC236}">
                <a16:creationId xmlns:a16="http://schemas.microsoft.com/office/drawing/2014/main" id="{FBEB58E8-231F-4E97-A6C0-420F35E15B5D}"/>
              </a:ext>
            </a:extLst>
          </p:cNvPr>
          <p:cNvPicPr>
            <a:picLocks noChangeAspect="1"/>
          </p:cNvPicPr>
          <p:nvPr/>
        </p:nvPicPr>
        <p:blipFill>
          <a:blip r:embed="rId255"/>
          <a:stretch>
            <a:fillRect/>
          </a:stretch>
        </p:blipFill>
        <p:spPr>
          <a:xfrm>
            <a:off x="2325698" y="4636203"/>
            <a:ext cx="235360" cy="235362"/>
          </a:xfrm>
          <a:prstGeom prst="rect">
            <a:avLst/>
          </a:prstGeom>
        </p:spPr>
      </p:pic>
      <p:pic>
        <p:nvPicPr>
          <p:cNvPr id="610" name="Picture 609">
            <a:extLst>
              <a:ext uri="{FF2B5EF4-FFF2-40B4-BE49-F238E27FC236}">
                <a16:creationId xmlns:a16="http://schemas.microsoft.com/office/drawing/2014/main" id="{990ED60C-14E3-4C4D-A317-523FD7B5715B}"/>
              </a:ext>
            </a:extLst>
          </p:cNvPr>
          <p:cNvPicPr>
            <a:picLocks noChangeAspect="1"/>
          </p:cNvPicPr>
          <p:nvPr/>
        </p:nvPicPr>
        <p:blipFill>
          <a:blip r:embed="rId256"/>
          <a:stretch>
            <a:fillRect/>
          </a:stretch>
        </p:blipFill>
        <p:spPr>
          <a:xfrm>
            <a:off x="2953085" y="4636205"/>
            <a:ext cx="235360" cy="235360"/>
          </a:xfrm>
          <a:prstGeom prst="rect">
            <a:avLst/>
          </a:prstGeom>
        </p:spPr>
      </p:pic>
      <p:pic>
        <p:nvPicPr>
          <p:cNvPr id="611" name="Picture 610">
            <a:extLst>
              <a:ext uri="{FF2B5EF4-FFF2-40B4-BE49-F238E27FC236}">
                <a16:creationId xmlns:a16="http://schemas.microsoft.com/office/drawing/2014/main" id="{5E6E6EF1-78F3-4BCE-A22E-7997DE3B5711}"/>
              </a:ext>
            </a:extLst>
          </p:cNvPr>
          <p:cNvPicPr>
            <a:picLocks noChangeAspect="1"/>
          </p:cNvPicPr>
          <p:nvPr/>
        </p:nvPicPr>
        <p:blipFill>
          <a:blip r:embed="rId256"/>
          <a:stretch>
            <a:fillRect/>
          </a:stretch>
        </p:blipFill>
        <p:spPr>
          <a:xfrm>
            <a:off x="3604285" y="4636203"/>
            <a:ext cx="235360" cy="235362"/>
          </a:xfrm>
          <a:prstGeom prst="rect">
            <a:avLst/>
          </a:prstGeom>
        </p:spPr>
      </p:pic>
      <p:pic>
        <p:nvPicPr>
          <p:cNvPr id="612" name="Picture 611">
            <a:extLst>
              <a:ext uri="{FF2B5EF4-FFF2-40B4-BE49-F238E27FC236}">
                <a16:creationId xmlns:a16="http://schemas.microsoft.com/office/drawing/2014/main" id="{9BE69D64-1DA2-4B56-9167-49C0E41F318A}"/>
              </a:ext>
            </a:extLst>
          </p:cNvPr>
          <p:cNvPicPr>
            <a:picLocks noChangeAspect="1"/>
          </p:cNvPicPr>
          <p:nvPr/>
        </p:nvPicPr>
        <p:blipFill>
          <a:blip r:embed="rId251"/>
          <a:stretch>
            <a:fillRect/>
          </a:stretch>
        </p:blipFill>
        <p:spPr>
          <a:xfrm>
            <a:off x="4182290" y="4636203"/>
            <a:ext cx="235360" cy="235362"/>
          </a:xfrm>
          <a:prstGeom prst="rect">
            <a:avLst/>
          </a:prstGeom>
        </p:spPr>
      </p:pic>
      <p:pic>
        <p:nvPicPr>
          <p:cNvPr id="613" name="Picture 612">
            <a:extLst>
              <a:ext uri="{FF2B5EF4-FFF2-40B4-BE49-F238E27FC236}">
                <a16:creationId xmlns:a16="http://schemas.microsoft.com/office/drawing/2014/main" id="{1E2D6591-F131-413E-8346-D15D25BE9AA5}"/>
              </a:ext>
            </a:extLst>
          </p:cNvPr>
          <p:cNvPicPr>
            <a:picLocks noChangeAspect="1"/>
          </p:cNvPicPr>
          <p:nvPr/>
        </p:nvPicPr>
        <p:blipFill>
          <a:blip r:embed="rId337"/>
          <a:stretch>
            <a:fillRect/>
          </a:stretch>
        </p:blipFill>
        <p:spPr>
          <a:xfrm>
            <a:off x="5455364" y="4653371"/>
            <a:ext cx="211794" cy="211795"/>
          </a:xfrm>
          <a:prstGeom prst="rect">
            <a:avLst/>
          </a:prstGeom>
        </p:spPr>
      </p:pic>
      <p:pic>
        <p:nvPicPr>
          <p:cNvPr id="614" name="Picture 613">
            <a:extLst>
              <a:ext uri="{FF2B5EF4-FFF2-40B4-BE49-F238E27FC236}">
                <a16:creationId xmlns:a16="http://schemas.microsoft.com/office/drawing/2014/main" id="{B2ECC7CE-6FBC-4117-AD9A-0F6F912FFD3E}"/>
              </a:ext>
            </a:extLst>
          </p:cNvPr>
          <p:cNvPicPr>
            <a:picLocks noChangeAspect="1"/>
          </p:cNvPicPr>
          <p:nvPr/>
        </p:nvPicPr>
        <p:blipFill>
          <a:blip r:embed="rId338"/>
          <a:stretch>
            <a:fillRect/>
          </a:stretch>
        </p:blipFill>
        <p:spPr>
          <a:xfrm>
            <a:off x="6008353" y="4653367"/>
            <a:ext cx="188588" cy="188590"/>
          </a:xfrm>
          <a:prstGeom prst="rect">
            <a:avLst/>
          </a:prstGeom>
        </p:spPr>
      </p:pic>
      <p:pic>
        <p:nvPicPr>
          <p:cNvPr id="615" name="Picture 614">
            <a:extLst>
              <a:ext uri="{FF2B5EF4-FFF2-40B4-BE49-F238E27FC236}">
                <a16:creationId xmlns:a16="http://schemas.microsoft.com/office/drawing/2014/main" id="{49037F7D-BE29-452D-8B09-35D6F27416D3}"/>
              </a:ext>
            </a:extLst>
          </p:cNvPr>
          <p:cNvPicPr>
            <a:picLocks noChangeAspect="1"/>
          </p:cNvPicPr>
          <p:nvPr/>
        </p:nvPicPr>
        <p:blipFill>
          <a:blip r:embed="rId339"/>
          <a:stretch>
            <a:fillRect/>
          </a:stretch>
        </p:blipFill>
        <p:spPr>
          <a:xfrm>
            <a:off x="6434798" y="4636205"/>
            <a:ext cx="235355" cy="235357"/>
          </a:xfrm>
          <a:prstGeom prst="rect">
            <a:avLst/>
          </a:prstGeom>
        </p:spPr>
      </p:pic>
      <p:pic>
        <p:nvPicPr>
          <p:cNvPr id="616" name="Picture 615">
            <a:extLst>
              <a:ext uri="{FF2B5EF4-FFF2-40B4-BE49-F238E27FC236}">
                <a16:creationId xmlns:a16="http://schemas.microsoft.com/office/drawing/2014/main" id="{F46A6BBD-F215-4E8D-BC66-249143B582EF}"/>
              </a:ext>
            </a:extLst>
          </p:cNvPr>
          <p:cNvPicPr>
            <a:picLocks noChangeAspect="1"/>
          </p:cNvPicPr>
          <p:nvPr/>
        </p:nvPicPr>
        <p:blipFill>
          <a:blip r:embed="rId340"/>
          <a:stretch>
            <a:fillRect/>
          </a:stretch>
        </p:blipFill>
        <p:spPr>
          <a:xfrm>
            <a:off x="6908012" y="4656648"/>
            <a:ext cx="188588" cy="188590"/>
          </a:xfrm>
          <a:prstGeom prst="rect">
            <a:avLst/>
          </a:prstGeom>
        </p:spPr>
      </p:pic>
      <p:pic>
        <p:nvPicPr>
          <p:cNvPr id="617" name="Picture 616">
            <a:extLst>
              <a:ext uri="{FF2B5EF4-FFF2-40B4-BE49-F238E27FC236}">
                <a16:creationId xmlns:a16="http://schemas.microsoft.com/office/drawing/2014/main" id="{8A6791FF-9372-4856-A132-F2D8610C637C}"/>
              </a:ext>
            </a:extLst>
          </p:cNvPr>
          <p:cNvPicPr>
            <a:picLocks noChangeAspect="1"/>
          </p:cNvPicPr>
          <p:nvPr/>
        </p:nvPicPr>
        <p:blipFill>
          <a:blip r:embed="rId341"/>
          <a:stretch>
            <a:fillRect/>
          </a:stretch>
        </p:blipFill>
        <p:spPr>
          <a:xfrm>
            <a:off x="8107573" y="4658518"/>
            <a:ext cx="186721" cy="186721"/>
          </a:xfrm>
          <a:prstGeom prst="rect">
            <a:avLst/>
          </a:prstGeom>
        </p:spPr>
      </p:pic>
      <p:pic>
        <p:nvPicPr>
          <p:cNvPr id="618" name="Picture 617">
            <a:extLst>
              <a:ext uri="{FF2B5EF4-FFF2-40B4-BE49-F238E27FC236}">
                <a16:creationId xmlns:a16="http://schemas.microsoft.com/office/drawing/2014/main" id="{3F9876BF-1171-42D9-98DE-54762BB53BC7}"/>
              </a:ext>
            </a:extLst>
          </p:cNvPr>
          <p:cNvPicPr>
            <a:picLocks noChangeAspect="1"/>
          </p:cNvPicPr>
          <p:nvPr/>
        </p:nvPicPr>
        <p:blipFill>
          <a:blip r:embed="rId342"/>
          <a:stretch>
            <a:fillRect/>
          </a:stretch>
        </p:blipFill>
        <p:spPr>
          <a:xfrm>
            <a:off x="8669482" y="4658518"/>
            <a:ext cx="186721" cy="186721"/>
          </a:xfrm>
          <a:prstGeom prst="rect">
            <a:avLst/>
          </a:prstGeom>
        </p:spPr>
      </p:pic>
      <p:pic>
        <p:nvPicPr>
          <p:cNvPr id="619" name="Picture 618">
            <a:extLst>
              <a:ext uri="{FF2B5EF4-FFF2-40B4-BE49-F238E27FC236}">
                <a16:creationId xmlns:a16="http://schemas.microsoft.com/office/drawing/2014/main" id="{D1A36FD1-ED64-465B-A66F-3BDE010E803A}"/>
              </a:ext>
            </a:extLst>
          </p:cNvPr>
          <p:cNvPicPr>
            <a:picLocks noChangeAspect="1"/>
          </p:cNvPicPr>
          <p:nvPr/>
        </p:nvPicPr>
        <p:blipFill>
          <a:blip r:embed="rId343"/>
          <a:stretch>
            <a:fillRect/>
          </a:stretch>
        </p:blipFill>
        <p:spPr>
          <a:xfrm>
            <a:off x="9356881" y="4658518"/>
            <a:ext cx="186721" cy="186721"/>
          </a:xfrm>
          <a:prstGeom prst="rect">
            <a:avLst/>
          </a:prstGeom>
        </p:spPr>
      </p:pic>
      <p:pic>
        <p:nvPicPr>
          <p:cNvPr id="620" name="Picture 619">
            <a:extLst>
              <a:ext uri="{FF2B5EF4-FFF2-40B4-BE49-F238E27FC236}">
                <a16:creationId xmlns:a16="http://schemas.microsoft.com/office/drawing/2014/main" id="{A39796EB-C8FB-40DC-AE98-3979B281F542}"/>
              </a:ext>
            </a:extLst>
          </p:cNvPr>
          <p:cNvPicPr>
            <a:picLocks noChangeAspect="1"/>
          </p:cNvPicPr>
          <p:nvPr/>
        </p:nvPicPr>
        <p:blipFill>
          <a:blip r:embed="rId344"/>
          <a:stretch>
            <a:fillRect/>
          </a:stretch>
        </p:blipFill>
        <p:spPr>
          <a:xfrm>
            <a:off x="10094966" y="4658518"/>
            <a:ext cx="186720" cy="186721"/>
          </a:xfrm>
          <a:prstGeom prst="rect">
            <a:avLst/>
          </a:prstGeom>
        </p:spPr>
      </p:pic>
      <p:pic>
        <p:nvPicPr>
          <p:cNvPr id="621" name="Picture 620">
            <a:extLst>
              <a:ext uri="{FF2B5EF4-FFF2-40B4-BE49-F238E27FC236}">
                <a16:creationId xmlns:a16="http://schemas.microsoft.com/office/drawing/2014/main" id="{DFB764AF-E440-48EF-BAA3-B540C826FC40}"/>
              </a:ext>
            </a:extLst>
          </p:cNvPr>
          <p:cNvPicPr>
            <a:picLocks noChangeAspect="1"/>
          </p:cNvPicPr>
          <p:nvPr/>
        </p:nvPicPr>
        <p:blipFill>
          <a:blip r:embed="rId345"/>
          <a:stretch>
            <a:fillRect/>
          </a:stretch>
        </p:blipFill>
        <p:spPr>
          <a:xfrm>
            <a:off x="10729005" y="4658519"/>
            <a:ext cx="186720" cy="186720"/>
          </a:xfrm>
          <a:prstGeom prst="rect">
            <a:avLst/>
          </a:prstGeom>
        </p:spPr>
      </p:pic>
      <p:pic>
        <p:nvPicPr>
          <p:cNvPr id="622" name="Picture 621">
            <a:extLst>
              <a:ext uri="{FF2B5EF4-FFF2-40B4-BE49-F238E27FC236}">
                <a16:creationId xmlns:a16="http://schemas.microsoft.com/office/drawing/2014/main" id="{0EC4697C-230C-4A8E-9D23-2952531122D3}"/>
              </a:ext>
            </a:extLst>
          </p:cNvPr>
          <p:cNvPicPr>
            <a:picLocks noChangeAspect="1"/>
          </p:cNvPicPr>
          <p:nvPr/>
        </p:nvPicPr>
        <p:blipFill>
          <a:blip r:embed="rId341"/>
          <a:stretch>
            <a:fillRect/>
          </a:stretch>
        </p:blipFill>
        <p:spPr>
          <a:xfrm>
            <a:off x="11312358" y="4658518"/>
            <a:ext cx="186721" cy="186721"/>
          </a:xfrm>
          <a:prstGeom prst="rect">
            <a:avLst/>
          </a:prstGeom>
        </p:spPr>
      </p:pic>
      <p:pic>
        <p:nvPicPr>
          <p:cNvPr id="623" name="Picture 622">
            <a:extLst>
              <a:ext uri="{FF2B5EF4-FFF2-40B4-BE49-F238E27FC236}">
                <a16:creationId xmlns:a16="http://schemas.microsoft.com/office/drawing/2014/main" id="{737B2E43-1BB7-4432-899D-8875E354F77E}"/>
              </a:ext>
            </a:extLst>
          </p:cNvPr>
          <p:cNvPicPr>
            <a:picLocks noChangeAspect="1"/>
          </p:cNvPicPr>
          <p:nvPr/>
        </p:nvPicPr>
        <p:blipFill>
          <a:blip r:embed="rId270"/>
          <a:stretch>
            <a:fillRect/>
          </a:stretch>
        </p:blipFill>
        <p:spPr>
          <a:xfrm>
            <a:off x="11874266" y="4658519"/>
            <a:ext cx="186721" cy="186720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F3EE938F-D04A-4613-96DC-DCF498468500}"/>
              </a:ext>
            </a:extLst>
          </p:cNvPr>
          <p:cNvGrpSpPr/>
          <p:nvPr/>
        </p:nvGrpSpPr>
        <p:grpSpPr>
          <a:xfrm>
            <a:off x="991388" y="5245986"/>
            <a:ext cx="219692" cy="415344"/>
            <a:chOff x="991388" y="5245986"/>
            <a:chExt cx="219692" cy="415344"/>
          </a:xfrm>
        </p:grpSpPr>
        <p:sp>
          <p:nvSpPr>
            <p:cNvPr id="388" name="TextBox 387">
              <a:extLst>
                <a:ext uri="{FF2B5EF4-FFF2-40B4-BE49-F238E27FC236}">
                  <a16:creationId xmlns:a16="http://schemas.microsoft.com/office/drawing/2014/main" id="{A89DD304-7B26-4ADB-B4FE-AF42B3724558}"/>
                </a:ext>
              </a:extLst>
            </p:cNvPr>
            <p:cNvSpPr txBox="1"/>
            <p:nvPr/>
          </p:nvSpPr>
          <p:spPr>
            <a:xfrm>
              <a:off x="991388" y="5522831"/>
              <a:ext cx="21969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IoT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4" name="Picture 623" descr="A close up of graphics&#10;&#10;Description generated with high confidence">
              <a:extLst>
                <a:ext uri="{FF2B5EF4-FFF2-40B4-BE49-F238E27FC236}">
                  <a16:creationId xmlns:a16="http://schemas.microsoft.com/office/drawing/2014/main" id="{FE784BEC-B451-4D78-A0CC-E672E3050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47"/>
            <a:stretch>
              <a:fillRect/>
            </a:stretch>
          </p:blipFill>
          <p:spPr>
            <a:xfrm>
              <a:off x="1007680" y="5245986"/>
              <a:ext cx="187107" cy="187107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2A684DF-52BB-4828-B97A-314592D272B5}"/>
              </a:ext>
            </a:extLst>
          </p:cNvPr>
          <p:cNvGrpSpPr/>
          <p:nvPr/>
        </p:nvGrpSpPr>
        <p:grpSpPr>
          <a:xfrm>
            <a:off x="1388657" y="5245986"/>
            <a:ext cx="323906" cy="346093"/>
            <a:chOff x="1418673" y="5245986"/>
            <a:chExt cx="323906" cy="346093"/>
          </a:xfrm>
        </p:grpSpPr>
        <p:sp>
          <p:nvSpPr>
            <p:cNvPr id="392" name="TextBox 391">
              <a:extLst>
                <a:ext uri="{FF2B5EF4-FFF2-40B4-BE49-F238E27FC236}">
                  <a16:creationId xmlns:a16="http://schemas.microsoft.com/office/drawing/2014/main" id="{CDAB1539-8672-4DAE-9A9E-FEE8FE1F23E2}"/>
                </a:ext>
              </a:extLst>
            </p:cNvPr>
            <p:cNvSpPr txBox="1"/>
            <p:nvPr/>
          </p:nvSpPr>
          <p:spPr>
            <a:xfrm>
              <a:off x="1418673" y="5522829"/>
              <a:ext cx="323906" cy="6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Hub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5" name="Picture 624" descr="A close up of graphics&#10;&#10;Description generated with high confidence">
              <a:extLst>
                <a:ext uri="{FF2B5EF4-FFF2-40B4-BE49-F238E27FC236}">
                  <a16:creationId xmlns:a16="http://schemas.microsoft.com/office/drawing/2014/main" id="{E89B3FA8-CA41-4011-A311-A78C00025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7"/>
            <a:stretch>
              <a:fillRect/>
            </a:stretch>
          </p:blipFill>
          <p:spPr>
            <a:xfrm>
              <a:off x="1487072" y="5245986"/>
              <a:ext cx="187107" cy="187107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D191E9C-DE2C-4370-B3CD-67E197C90A84}"/>
              </a:ext>
            </a:extLst>
          </p:cNvPr>
          <p:cNvGrpSpPr/>
          <p:nvPr/>
        </p:nvGrpSpPr>
        <p:grpSpPr>
          <a:xfrm>
            <a:off x="1890140" y="5243162"/>
            <a:ext cx="306463" cy="348917"/>
            <a:chOff x="1950171" y="5243162"/>
            <a:chExt cx="306463" cy="348917"/>
          </a:xfrm>
        </p:grpSpPr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92D7A2AD-9291-491B-B79A-E53D21177998}"/>
                </a:ext>
              </a:extLst>
            </p:cNvPr>
            <p:cNvSpPr txBox="1"/>
            <p:nvPr/>
          </p:nvSpPr>
          <p:spPr>
            <a:xfrm>
              <a:off x="1950171" y="5522829"/>
              <a:ext cx="306463" cy="6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4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Edg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6" name="Picture 625">
              <a:extLst>
                <a:ext uri="{FF2B5EF4-FFF2-40B4-BE49-F238E27FC236}">
                  <a16:creationId xmlns:a16="http://schemas.microsoft.com/office/drawing/2014/main" id="{06350CA2-B3B0-4FD0-AAAA-22527C7F7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50"/>
            <a:stretch>
              <a:fillRect/>
            </a:stretch>
          </p:blipFill>
          <p:spPr>
            <a:xfrm>
              <a:off x="2014135" y="5243162"/>
              <a:ext cx="178537" cy="189932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4BFF6EA-8EA4-4740-9BA4-A520ADD66463}"/>
              </a:ext>
            </a:extLst>
          </p:cNvPr>
          <p:cNvGrpSpPr/>
          <p:nvPr/>
        </p:nvGrpSpPr>
        <p:grpSpPr>
          <a:xfrm>
            <a:off x="2374180" y="5243162"/>
            <a:ext cx="306463" cy="348939"/>
            <a:chOff x="2464227" y="5243162"/>
            <a:chExt cx="306463" cy="348939"/>
          </a:xfrm>
        </p:grpSpPr>
        <p:sp>
          <p:nvSpPr>
            <p:cNvPr id="394" name="TextBox 393">
              <a:extLst>
                <a:ext uri="{FF2B5EF4-FFF2-40B4-BE49-F238E27FC236}">
                  <a16:creationId xmlns:a16="http://schemas.microsoft.com/office/drawing/2014/main" id="{B439E3E1-A6DC-4011-ABCE-082AB0A002CE}"/>
                </a:ext>
              </a:extLst>
            </p:cNvPr>
            <p:cNvSpPr txBox="1"/>
            <p:nvPr/>
          </p:nvSpPr>
          <p:spPr>
            <a:xfrm>
              <a:off x="2464227" y="5522830"/>
              <a:ext cx="306463" cy="692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Central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7" name="Picture 626">
              <a:extLst>
                <a:ext uri="{FF2B5EF4-FFF2-40B4-BE49-F238E27FC236}">
                  <a16:creationId xmlns:a16="http://schemas.microsoft.com/office/drawing/2014/main" id="{D243D86C-8BBF-4892-9493-A556D9ACD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52"/>
            <a:stretch>
              <a:fillRect/>
            </a:stretch>
          </p:blipFill>
          <p:spPr>
            <a:xfrm>
              <a:off x="2522495" y="5243162"/>
              <a:ext cx="189932" cy="189932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92D378A-0D99-43E8-BC2F-68026421A42F}"/>
              </a:ext>
            </a:extLst>
          </p:cNvPr>
          <p:cNvGrpSpPr/>
          <p:nvPr/>
        </p:nvGrpSpPr>
        <p:grpSpPr>
          <a:xfrm>
            <a:off x="2858220" y="5243161"/>
            <a:ext cx="425887" cy="418169"/>
            <a:chOff x="2978285" y="5243161"/>
            <a:chExt cx="425887" cy="418169"/>
          </a:xfrm>
        </p:grpSpPr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226AFF1E-8339-4066-B3F5-C586FB172493}"/>
                </a:ext>
              </a:extLst>
            </p:cNvPr>
            <p:cNvSpPr txBox="1"/>
            <p:nvPr/>
          </p:nvSpPr>
          <p:spPr>
            <a:xfrm>
              <a:off x="2978285" y="5522831"/>
              <a:ext cx="42588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Solution Accelerator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8" name="Picture 627">
              <a:extLst>
                <a:ext uri="{FF2B5EF4-FFF2-40B4-BE49-F238E27FC236}">
                  <a16:creationId xmlns:a16="http://schemas.microsoft.com/office/drawing/2014/main" id="{5F7BA304-09D2-4ECB-8182-DBC8ABEF9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54"/>
            <a:stretch>
              <a:fillRect/>
            </a:stretch>
          </p:blipFill>
          <p:spPr>
            <a:xfrm>
              <a:off x="3107659" y="5243161"/>
              <a:ext cx="167140" cy="189932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3075969-3FD3-4C5D-B7FA-DF1AFDE4A989}"/>
              </a:ext>
            </a:extLst>
          </p:cNvPr>
          <p:cNvGrpSpPr/>
          <p:nvPr/>
        </p:nvGrpSpPr>
        <p:grpSpPr>
          <a:xfrm>
            <a:off x="3461684" y="5243160"/>
            <a:ext cx="425887" cy="418170"/>
            <a:chOff x="3611766" y="5243160"/>
            <a:chExt cx="425887" cy="418170"/>
          </a:xfrm>
        </p:grpSpPr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679B0E80-82AF-46D5-8A26-7DF7E5E4C409}"/>
                </a:ext>
              </a:extLst>
            </p:cNvPr>
            <p:cNvSpPr txBox="1"/>
            <p:nvPr/>
          </p:nvSpPr>
          <p:spPr>
            <a:xfrm>
              <a:off x="3611766" y="5522831"/>
              <a:ext cx="42588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igital Twin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29" name="Picture 628">
              <a:extLst>
                <a:ext uri="{FF2B5EF4-FFF2-40B4-BE49-F238E27FC236}">
                  <a16:creationId xmlns:a16="http://schemas.microsoft.com/office/drawing/2014/main" id="{E15F534A-5776-4A0E-8277-E76B259A2A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56"/>
            <a:stretch>
              <a:fillRect/>
            </a:stretch>
          </p:blipFill>
          <p:spPr>
            <a:xfrm>
              <a:off x="3729741" y="5243160"/>
              <a:ext cx="189933" cy="189932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9369530-40B0-41BF-B346-421DD3C62FD7}"/>
              </a:ext>
            </a:extLst>
          </p:cNvPr>
          <p:cNvGrpSpPr/>
          <p:nvPr/>
        </p:nvGrpSpPr>
        <p:grpSpPr>
          <a:xfrm>
            <a:off x="4065148" y="5243160"/>
            <a:ext cx="596623" cy="418170"/>
            <a:chOff x="4245245" y="5243160"/>
            <a:chExt cx="596623" cy="418170"/>
          </a:xfrm>
        </p:grpSpPr>
        <p:sp>
          <p:nvSpPr>
            <p:cNvPr id="397" name="TextBox 396">
              <a:extLst>
                <a:ext uri="{FF2B5EF4-FFF2-40B4-BE49-F238E27FC236}">
                  <a16:creationId xmlns:a16="http://schemas.microsoft.com/office/drawing/2014/main" id="{5DDC6DCC-CB24-41A0-BC99-07BDAD733549}"/>
                </a:ext>
              </a:extLst>
            </p:cNvPr>
            <p:cNvSpPr txBox="1"/>
            <p:nvPr/>
          </p:nvSpPr>
          <p:spPr>
            <a:xfrm>
              <a:off x="4245245" y="5522831"/>
              <a:ext cx="59662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Hub Device Provisioning 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0" name="Picture 629">
              <a:extLst>
                <a:ext uri="{FF2B5EF4-FFF2-40B4-BE49-F238E27FC236}">
                  <a16:creationId xmlns:a16="http://schemas.microsoft.com/office/drawing/2014/main" id="{4CE8BE2F-D41F-4AC1-8ED5-F20E7B87D6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8"/>
            <a:stretch>
              <a:fillRect/>
            </a:stretch>
          </p:blipFill>
          <p:spPr>
            <a:xfrm>
              <a:off x="4452390" y="5243160"/>
              <a:ext cx="182335" cy="189932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1292DA7-833D-47F3-95E7-20DBB675DA96}"/>
              </a:ext>
            </a:extLst>
          </p:cNvPr>
          <p:cNvGrpSpPr/>
          <p:nvPr/>
        </p:nvGrpSpPr>
        <p:grpSpPr>
          <a:xfrm>
            <a:off x="4839348" y="5241846"/>
            <a:ext cx="339675" cy="419484"/>
            <a:chOff x="5049462" y="5241846"/>
            <a:chExt cx="339675" cy="419484"/>
          </a:xfrm>
        </p:grpSpPr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1CCFA157-DDA7-478B-A531-945759BEBEC4}"/>
                </a:ext>
              </a:extLst>
            </p:cNvPr>
            <p:cNvSpPr txBox="1"/>
            <p:nvPr/>
          </p:nvSpPr>
          <p:spPr>
            <a:xfrm>
              <a:off x="5049462" y="5522831"/>
              <a:ext cx="3396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5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ime Series Insight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1" name="Graphic 630" descr="Time Series Insights">
              <a:extLst>
                <a:ext uri="{FF2B5EF4-FFF2-40B4-BE49-F238E27FC236}">
                  <a16:creationId xmlns:a16="http://schemas.microsoft.com/office/drawing/2014/main" id="{E9E9134E-957D-4C7D-80C1-CD4E91627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6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61"/>
                </a:ext>
              </a:extLst>
            </a:blip>
            <a:stretch>
              <a:fillRect/>
            </a:stretch>
          </p:blipFill>
          <p:spPr>
            <a:xfrm>
              <a:off x="5123677" y="5241846"/>
              <a:ext cx="191246" cy="191246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ED8C735-64A9-42BC-95F5-EF623971A85F}"/>
              </a:ext>
            </a:extLst>
          </p:cNvPr>
          <p:cNvGrpSpPr/>
          <p:nvPr/>
        </p:nvGrpSpPr>
        <p:grpSpPr>
          <a:xfrm>
            <a:off x="5356600" y="5243159"/>
            <a:ext cx="269424" cy="418171"/>
            <a:chOff x="5596731" y="5243159"/>
            <a:chExt cx="269424" cy="418171"/>
          </a:xfrm>
        </p:grpSpPr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0ED67CA7-17FA-4071-AA7B-B67CA305FF30}"/>
                </a:ext>
              </a:extLst>
            </p:cNvPr>
            <p:cNvSpPr txBox="1"/>
            <p:nvPr/>
          </p:nvSpPr>
          <p:spPr>
            <a:xfrm>
              <a:off x="5596731" y="5522831"/>
              <a:ext cx="2694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Map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2" name="Picture 631">
              <a:extLst>
                <a:ext uri="{FF2B5EF4-FFF2-40B4-BE49-F238E27FC236}">
                  <a16:creationId xmlns:a16="http://schemas.microsoft.com/office/drawing/2014/main" id="{E13255B7-2F56-4930-A2B8-3213C638C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62"/>
            <a:stretch>
              <a:fillRect/>
            </a:stretch>
          </p:blipFill>
          <p:spPr>
            <a:xfrm>
              <a:off x="5657369" y="5243159"/>
              <a:ext cx="148148" cy="189932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329C883-7994-4616-8EFB-97EFDC16865E}"/>
              </a:ext>
            </a:extLst>
          </p:cNvPr>
          <p:cNvGrpSpPr/>
          <p:nvPr/>
        </p:nvGrpSpPr>
        <p:grpSpPr>
          <a:xfrm>
            <a:off x="5803601" y="5243158"/>
            <a:ext cx="339675" cy="348921"/>
            <a:chOff x="6073748" y="5243158"/>
            <a:chExt cx="339675" cy="348921"/>
          </a:xfrm>
        </p:grpSpPr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9B359F98-6250-48F9-B28D-9DC227B1B26B}"/>
                </a:ext>
              </a:extLst>
            </p:cNvPr>
            <p:cNvSpPr txBox="1"/>
            <p:nvPr/>
          </p:nvSpPr>
          <p:spPr>
            <a:xfrm>
              <a:off x="6073748" y="5522829"/>
              <a:ext cx="339675" cy="6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unction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3" name="Picture 632">
              <a:extLst>
                <a:ext uri="{FF2B5EF4-FFF2-40B4-BE49-F238E27FC236}">
                  <a16:creationId xmlns:a16="http://schemas.microsoft.com/office/drawing/2014/main" id="{7CD71EB1-09BA-40ED-AC9A-FAAAB9F095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63"/>
            <a:stretch>
              <a:fillRect/>
            </a:stretch>
          </p:blipFill>
          <p:spPr>
            <a:xfrm>
              <a:off x="6148620" y="5243158"/>
              <a:ext cx="189934" cy="189933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22020C1-EA5B-492A-AE1D-4516051EA419}"/>
              </a:ext>
            </a:extLst>
          </p:cNvPr>
          <p:cNvGrpSpPr/>
          <p:nvPr/>
        </p:nvGrpSpPr>
        <p:grpSpPr>
          <a:xfrm>
            <a:off x="6320853" y="5243159"/>
            <a:ext cx="223234" cy="418171"/>
            <a:chOff x="6621017" y="5243159"/>
            <a:chExt cx="223234" cy="418171"/>
          </a:xfrm>
        </p:grpSpPr>
        <p:sp>
          <p:nvSpPr>
            <p:cNvPr id="390" name="TextBox 389">
              <a:extLst>
                <a:ext uri="{FF2B5EF4-FFF2-40B4-BE49-F238E27FC236}">
                  <a16:creationId xmlns:a16="http://schemas.microsoft.com/office/drawing/2014/main" id="{61AF412B-1568-4CFF-A2D3-2213D872583C}"/>
                </a:ext>
              </a:extLst>
            </p:cNvPr>
            <p:cNvSpPr txBox="1"/>
            <p:nvPr/>
          </p:nvSpPr>
          <p:spPr>
            <a:xfrm>
              <a:off x="6621017" y="5522831"/>
              <a:ext cx="22323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vent </a:t>
              </a:r>
              <a:b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rid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4" name="Picture 633" descr="Event Grid">
              <a:extLst>
                <a:ext uri="{FF2B5EF4-FFF2-40B4-BE49-F238E27FC236}">
                  <a16:creationId xmlns:a16="http://schemas.microsoft.com/office/drawing/2014/main" id="{6EC8C23D-B797-45D1-9390-2B73AAA956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64"/>
            <a:stretch>
              <a:fillRect/>
            </a:stretch>
          </p:blipFill>
          <p:spPr>
            <a:xfrm>
              <a:off x="6636349" y="5243159"/>
              <a:ext cx="189935" cy="190001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DB265E9-CF27-413A-96CE-7AB51C233B5A}"/>
              </a:ext>
            </a:extLst>
          </p:cNvPr>
          <p:cNvGrpSpPr/>
          <p:nvPr/>
        </p:nvGrpSpPr>
        <p:grpSpPr>
          <a:xfrm>
            <a:off x="6721664" y="5245985"/>
            <a:ext cx="317379" cy="415345"/>
            <a:chOff x="7051844" y="5245985"/>
            <a:chExt cx="317379" cy="415345"/>
          </a:xfrm>
        </p:grpSpPr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31E5C63C-2652-4373-9412-4FDA09A8EB6E}"/>
                </a:ext>
              </a:extLst>
            </p:cNvPr>
            <p:cNvSpPr txBox="1"/>
            <p:nvPr/>
          </p:nvSpPr>
          <p:spPr>
            <a:xfrm>
              <a:off x="7051844" y="5522831"/>
              <a:ext cx="31737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6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Learning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5" name="Picture 634">
              <a:extLst>
                <a:ext uri="{FF2B5EF4-FFF2-40B4-BE49-F238E27FC236}">
                  <a16:creationId xmlns:a16="http://schemas.microsoft.com/office/drawing/2014/main" id="{C01C3ECD-79FA-413B-8450-FAF05C1E4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6"/>
            <a:stretch>
              <a:fillRect/>
            </a:stretch>
          </p:blipFill>
          <p:spPr>
            <a:xfrm>
              <a:off x="7116945" y="5245985"/>
              <a:ext cx="187176" cy="187175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3B7ADCA-7961-4720-887F-7F5880036124}"/>
              </a:ext>
            </a:extLst>
          </p:cNvPr>
          <p:cNvGrpSpPr/>
          <p:nvPr/>
        </p:nvGrpSpPr>
        <p:grpSpPr>
          <a:xfrm>
            <a:off x="8574130" y="5293129"/>
            <a:ext cx="328978" cy="368201"/>
            <a:chOff x="8994360" y="5293129"/>
            <a:chExt cx="328978" cy="368201"/>
          </a:xfrm>
        </p:grpSpPr>
        <p:sp>
          <p:nvSpPr>
            <p:cNvPr id="404" name="TextBox 403">
              <a:extLst>
                <a:ext uri="{FF2B5EF4-FFF2-40B4-BE49-F238E27FC236}">
                  <a16:creationId xmlns:a16="http://schemas.microsoft.com/office/drawing/2014/main" id="{6F3274E1-C10C-4EA8-A6D6-DD42C5B2E594}"/>
                </a:ext>
              </a:extLst>
            </p:cNvPr>
            <p:cNvSpPr txBox="1"/>
            <p:nvPr/>
          </p:nvSpPr>
          <p:spPr>
            <a:xfrm>
              <a:off x="8994360" y="5522831"/>
              <a:ext cx="32897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6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ream Analytic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6" name="Picture 635">
              <a:extLst>
                <a:ext uri="{FF2B5EF4-FFF2-40B4-BE49-F238E27FC236}">
                  <a16:creationId xmlns:a16="http://schemas.microsoft.com/office/drawing/2014/main" id="{00375771-818A-4B11-A1F1-5B379EB6E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8"/>
            <a:stretch>
              <a:fillRect/>
            </a:stretch>
          </p:blipFill>
          <p:spPr>
            <a:xfrm>
              <a:off x="9069031" y="5293129"/>
              <a:ext cx="179636" cy="140030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49DF623-C502-4A2A-BFE1-F88C8080DF8D}"/>
              </a:ext>
            </a:extLst>
          </p:cNvPr>
          <p:cNvGrpSpPr/>
          <p:nvPr/>
        </p:nvGrpSpPr>
        <p:grpSpPr>
          <a:xfrm>
            <a:off x="7216620" y="5245985"/>
            <a:ext cx="543066" cy="415345"/>
            <a:chOff x="7576817" y="5245985"/>
            <a:chExt cx="543066" cy="415345"/>
          </a:xfrm>
        </p:grpSpPr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29AAAC61-CB49-4879-B45D-F5A38A8872F5}"/>
                </a:ext>
              </a:extLst>
            </p:cNvPr>
            <p:cNvSpPr txBox="1"/>
            <p:nvPr/>
          </p:nvSpPr>
          <p:spPr>
            <a:xfrm>
              <a:off x="7576817" y="5522831"/>
              <a:ext cx="54306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6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Learning Service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7" name="Picture 636">
              <a:extLst>
                <a:ext uri="{FF2B5EF4-FFF2-40B4-BE49-F238E27FC236}">
                  <a16:creationId xmlns:a16="http://schemas.microsoft.com/office/drawing/2014/main" id="{67BC5F85-4025-40AA-B921-02A8452AA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66"/>
            <a:stretch>
              <a:fillRect/>
            </a:stretch>
          </p:blipFill>
          <p:spPr>
            <a:xfrm>
              <a:off x="7754761" y="5245985"/>
              <a:ext cx="187176" cy="187175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675157A-21C5-41DC-B9CC-D6CB599D5FAA}"/>
              </a:ext>
            </a:extLst>
          </p:cNvPr>
          <p:cNvGrpSpPr/>
          <p:nvPr/>
        </p:nvGrpSpPr>
        <p:grpSpPr>
          <a:xfrm>
            <a:off x="7937263" y="5245985"/>
            <a:ext cx="459290" cy="415345"/>
            <a:chOff x="8327475" y="5245985"/>
            <a:chExt cx="459290" cy="415345"/>
          </a:xfrm>
        </p:grpSpPr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C9A34DE4-49FB-4928-B68D-E30362173CBE}"/>
                </a:ext>
              </a:extLst>
            </p:cNvPr>
            <p:cNvSpPr txBox="1"/>
            <p:nvPr/>
          </p:nvSpPr>
          <p:spPr>
            <a:xfrm>
              <a:off x="8327475" y="5522831"/>
              <a:ext cx="4592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Learning Studio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38" name="Picture 637">
              <a:extLst>
                <a:ext uri="{FF2B5EF4-FFF2-40B4-BE49-F238E27FC236}">
                  <a16:creationId xmlns:a16="http://schemas.microsoft.com/office/drawing/2014/main" id="{3E8CCF38-26E7-4249-914E-80FB512CE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66"/>
            <a:stretch>
              <a:fillRect/>
            </a:stretch>
          </p:blipFill>
          <p:spPr>
            <a:xfrm>
              <a:off x="8463532" y="5245985"/>
              <a:ext cx="187176" cy="187175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05A2DF-0A78-430B-9E63-B2EF18B4A99C}"/>
              </a:ext>
            </a:extLst>
          </p:cNvPr>
          <p:cNvGrpSpPr/>
          <p:nvPr/>
        </p:nvGrpSpPr>
        <p:grpSpPr>
          <a:xfrm>
            <a:off x="9080685" y="5175749"/>
            <a:ext cx="311618" cy="485581"/>
            <a:chOff x="9515390" y="5175749"/>
            <a:chExt cx="311618" cy="485581"/>
          </a:xfrm>
        </p:grpSpPr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41E12584-3BD9-488C-991F-D2BC863E195B}"/>
                </a:ext>
              </a:extLst>
            </p:cNvPr>
            <p:cNvSpPr txBox="1"/>
            <p:nvPr/>
          </p:nvSpPr>
          <p:spPr>
            <a:xfrm>
              <a:off x="9530931" y="5522831"/>
              <a:ext cx="2721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gic </a:t>
              </a:r>
              <a:b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2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40" name="Graphic 639" descr="Logic Apps">
              <a:extLst>
                <a:ext uri="{FF2B5EF4-FFF2-40B4-BE49-F238E27FC236}">
                  <a16:creationId xmlns:a16="http://schemas.microsoft.com/office/drawing/2014/main" id="{1BD2FC19-D1CD-488E-9D2B-96C5C309E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7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71"/>
                </a:ext>
              </a:extLst>
            </a:blip>
            <a:stretch>
              <a:fillRect/>
            </a:stretch>
          </p:blipFill>
          <p:spPr>
            <a:xfrm>
              <a:off x="9515390" y="5175749"/>
              <a:ext cx="311618" cy="311618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C404EA8-4EB1-4184-93D1-8F48FD897118}"/>
              </a:ext>
            </a:extLst>
          </p:cNvPr>
          <p:cNvGrpSpPr/>
          <p:nvPr/>
        </p:nvGrpSpPr>
        <p:grpSpPr>
          <a:xfrm>
            <a:off x="10134137" y="5231460"/>
            <a:ext cx="395588" cy="429870"/>
            <a:chOff x="10604974" y="5231460"/>
            <a:chExt cx="395588" cy="429870"/>
          </a:xfrm>
        </p:grpSpPr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F1B73A36-95BC-40E1-8CEF-50D249AF0B88}"/>
                </a:ext>
              </a:extLst>
            </p:cNvPr>
            <p:cNvSpPr txBox="1"/>
            <p:nvPr/>
          </p:nvSpPr>
          <p:spPr>
            <a:xfrm>
              <a:off x="10604974" y="5522831"/>
              <a:ext cx="39558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otification Hub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41" name="Picture 640">
              <a:extLst>
                <a:ext uri="{FF2B5EF4-FFF2-40B4-BE49-F238E27FC236}">
                  <a16:creationId xmlns:a16="http://schemas.microsoft.com/office/drawing/2014/main" id="{44CDFBAE-B739-4947-AAB1-315C48544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2"/>
            <a:stretch>
              <a:fillRect/>
            </a:stretch>
          </p:blipFill>
          <p:spPr>
            <a:xfrm>
              <a:off x="10704557" y="5231460"/>
              <a:ext cx="196422" cy="196422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EE244C4-0BE3-480A-9A52-32FD1D841D63}"/>
              </a:ext>
            </a:extLst>
          </p:cNvPr>
          <p:cNvGrpSpPr/>
          <p:nvPr/>
        </p:nvGrpSpPr>
        <p:grpSpPr>
          <a:xfrm>
            <a:off x="9569880" y="5222125"/>
            <a:ext cx="386680" cy="439205"/>
            <a:chOff x="10010700" y="5222125"/>
            <a:chExt cx="386680" cy="439205"/>
          </a:xfrm>
        </p:grpSpPr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56CC172B-CB16-4547-9875-9E92D12060EC}"/>
                </a:ext>
              </a:extLst>
            </p:cNvPr>
            <p:cNvSpPr txBox="1"/>
            <p:nvPr/>
          </p:nvSpPr>
          <p:spPr>
            <a:xfrm>
              <a:off x="10010700" y="5522831"/>
              <a:ext cx="38668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Cosmos DB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42" name="Picture 641">
              <a:extLst>
                <a:ext uri="{FF2B5EF4-FFF2-40B4-BE49-F238E27FC236}">
                  <a16:creationId xmlns:a16="http://schemas.microsoft.com/office/drawing/2014/main" id="{5E9B3A6A-3ACC-48CE-BFB2-E8331C1AA6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73"/>
            <a:stretch>
              <a:fillRect/>
            </a:stretch>
          </p:blipFill>
          <p:spPr>
            <a:xfrm>
              <a:off x="10085428" y="5222125"/>
              <a:ext cx="237225" cy="218248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B5565F1-E858-4065-B865-0FCB4EB0B716}"/>
              </a:ext>
            </a:extLst>
          </p:cNvPr>
          <p:cNvGrpSpPr/>
          <p:nvPr/>
        </p:nvGrpSpPr>
        <p:grpSpPr>
          <a:xfrm>
            <a:off x="10707302" y="5222117"/>
            <a:ext cx="452513" cy="439213"/>
            <a:chOff x="10930463" y="5222117"/>
            <a:chExt cx="452513" cy="439213"/>
          </a:xfrm>
        </p:grpSpPr>
        <p:sp>
          <p:nvSpPr>
            <p:cNvPr id="407" name="TextBox 406">
              <a:extLst>
                <a:ext uri="{FF2B5EF4-FFF2-40B4-BE49-F238E27FC236}">
                  <a16:creationId xmlns:a16="http://schemas.microsoft.com/office/drawing/2014/main" id="{5E6F97CA-16C8-4512-8EFF-5957732C1EF5}"/>
                </a:ext>
              </a:extLst>
            </p:cNvPr>
            <p:cNvSpPr txBox="1"/>
            <p:nvPr/>
          </p:nvSpPr>
          <p:spPr>
            <a:xfrm>
              <a:off x="10930463" y="5522831"/>
              <a:ext cx="45251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 Management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43" name="Picture 642">
              <a:extLst>
                <a:ext uri="{FF2B5EF4-FFF2-40B4-BE49-F238E27FC236}">
                  <a16:creationId xmlns:a16="http://schemas.microsoft.com/office/drawing/2014/main" id="{2D795BCA-AE6D-4D85-941E-43A0D88EB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7"/>
            <a:stretch>
              <a:fillRect/>
            </a:stretch>
          </p:blipFill>
          <p:spPr>
            <a:xfrm>
              <a:off x="11047595" y="5222117"/>
              <a:ext cx="218248" cy="218247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25F2EAE-7391-4D7F-B1D8-72C236AB2B42}"/>
              </a:ext>
            </a:extLst>
          </p:cNvPr>
          <p:cNvGrpSpPr/>
          <p:nvPr/>
        </p:nvGrpSpPr>
        <p:grpSpPr>
          <a:xfrm>
            <a:off x="11337392" y="5222119"/>
            <a:ext cx="261325" cy="439211"/>
            <a:chOff x="11367066" y="5222119"/>
            <a:chExt cx="261325" cy="439211"/>
          </a:xfrm>
        </p:grpSpPr>
        <p:sp>
          <p:nvSpPr>
            <p:cNvPr id="408" name="TextBox 407">
              <a:extLst>
                <a:ext uri="{FF2B5EF4-FFF2-40B4-BE49-F238E27FC236}">
                  <a16:creationId xmlns:a16="http://schemas.microsoft.com/office/drawing/2014/main" id="{EC49420D-C939-4711-83AF-759316CF2DE1}"/>
                </a:ext>
              </a:extLst>
            </p:cNvPr>
            <p:cNvSpPr txBox="1"/>
            <p:nvPr/>
          </p:nvSpPr>
          <p:spPr>
            <a:xfrm>
              <a:off x="11367066" y="5522831"/>
              <a:ext cx="26132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pher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44" name="Picture 643">
              <a:extLst>
                <a:ext uri="{FF2B5EF4-FFF2-40B4-BE49-F238E27FC236}">
                  <a16:creationId xmlns:a16="http://schemas.microsoft.com/office/drawing/2014/main" id="{380D2952-0BA5-4B9A-BA5C-90B134C8FE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5"/>
            <a:stretch>
              <a:fillRect/>
            </a:stretch>
          </p:blipFill>
          <p:spPr>
            <a:xfrm>
              <a:off x="11388606" y="5222119"/>
              <a:ext cx="218248" cy="218247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D965B79-BDB7-488C-B9E3-8CC4088AF93C}"/>
              </a:ext>
            </a:extLst>
          </p:cNvPr>
          <p:cNvGrpSpPr/>
          <p:nvPr/>
        </p:nvGrpSpPr>
        <p:grpSpPr>
          <a:xfrm>
            <a:off x="1370243" y="5804288"/>
            <a:ext cx="254842" cy="415452"/>
            <a:chOff x="1323766" y="5804288"/>
            <a:chExt cx="254842" cy="415452"/>
          </a:xfrm>
        </p:grpSpPr>
        <p:sp>
          <p:nvSpPr>
            <p:cNvPr id="409" name="TextBox 408">
              <a:extLst>
                <a:ext uri="{FF2B5EF4-FFF2-40B4-BE49-F238E27FC236}">
                  <a16:creationId xmlns:a16="http://schemas.microsoft.com/office/drawing/2014/main" id="{F5CAB03F-595B-4C59-9F40-9E99A9355187}"/>
                </a:ext>
              </a:extLst>
            </p:cNvPr>
            <p:cNvSpPr txBox="1"/>
            <p:nvPr/>
          </p:nvSpPr>
          <p:spPr>
            <a:xfrm>
              <a:off x="1323766" y="6081197"/>
              <a:ext cx="254842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te</a:t>
              </a:r>
              <a:b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covery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46" name="Picture 645">
              <a:extLst>
                <a:ext uri="{FF2B5EF4-FFF2-40B4-BE49-F238E27FC236}">
                  <a16:creationId xmlns:a16="http://schemas.microsoft.com/office/drawing/2014/main" id="{BDF4CE64-AE1E-463D-BDC8-92F37FF18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6589" y="5804288"/>
              <a:ext cx="189197" cy="189195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448729B-7030-4F2F-A30B-C82AA90998AC}"/>
              </a:ext>
            </a:extLst>
          </p:cNvPr>
          <p:cNvGrpSpPr/>
          <p:nvPr/>
        </p:nvGrpSpPr>
        <p:grpSpPr>
          <a:xfrm>
            <a:off x="1008322" y="5807516"/>
            <a:ext cx="205155" cy="342953"/>
            <a:chOff x="991388" y="5807516"/>
            <a:chExt cx="205155" cy="342953"/>
          </a:xfrm>
        </p:grpSpPr>
        <p:sp>
          <p:nvSpPr>
            <p:cNvPr id="410" name="TextBox 409">
              <a:extLst>
                <a:ext uri="{FF2B5EF4-FFF2-40B4-BE49-F238E27FC236}">
                  <a16:creationId xmlns:a16="http://schemas.microsoft.com/office/drawing/2014/main" id="{6C497BF8-0174-4CD3-B8EA-D7D0A13E5F4F}"/>
                </a:ext>
              </a:extLst>
            </p:cNvPr>
            <p:cNvSpPr txBox="1"/>
            <p:nvPr/>
          </p:nvSpPr>
          <p:spPr>
            <a:xfrm>
              <a:off x="991388" y="6081198"/>
              <a:ext cx="205155" cy="692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ckup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47" name="Picture 646">
              <a:extLst>
                <a:ext uri="{FF2B5EF4-FFF2-40B4-BE49-F238E27FC236}">
                  <a16:creationId xmlns:a16="http://schemas.microsoft.com/office/drawing/2014/main" id="{44D34073-D256-4BC5-A529-5C951B0D74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77"/>
            <a:stretch>
              <a:fillRect/>
            </a:stretch>
          </p:blipFill>
          <p:spPr>
            <a:xfrm>
              <a:off x="1000980" y="5807516"/>
              <a:ext cx="185970" cy="185968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A82F949-F3BA-4CB1-9091-0AC023072653}"/>
              </a:ext>
            </a:extLst>
          </p:cNvPr>
          <p:cNvGrpSpPr/>
          <p:nvPr/>
        </p:nvGrpSpPr>
        <p:grpSpPr>
          <a:xfrm>
            <a:off x="1781851" y="5807516"/>
            <a:ext cx="341390" cy="412182"/>
            <a:chOff x="1705832" y="5807516"/>
            <a:chExt cx="341390" cy="412182"/>
          </a:xfrm>
        </p:grpSpPr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CFFB82DA-CB1F-4E6F-9099-A5B104D1C7C1}"/>
                </a:ext>
              </a:extLst>
            </p:cNvPr>
            <p:cNvSpPr txBox="1"/>
            <p:nvPr/>
          </p:nvSpPr>
          <p:spPr>
            <a:xfrm>
              <a:off x="1705832" y="6081199"/>
              <a:ext cx="3413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lication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ight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49" name="Picture 648">
              <a:extLst>
                <a:ext uri="{FF2B5EF4-FFF2-40B4-BE49-F238E27FC236}">
                  <a16:creationId xmlns:a16="http://schemas.microsoft.com/office/drawing/2014/main" id="{F203EB94-5519-4AD1-B804-2422A05261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6"/>
            <a:stretch>
              <a:fillRect/>
            </a:stretch>
          </p:blipFill>
          <p:spPr>
            <a:xfrm>
              <a:off x="1783543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46E78AE-53AB-4A4C-9C1B-C14DCA4AB5F7}"/>
              </a:ext>
            </a:extLst>
          </p:cNvPr>
          <p:cNvGrpSpPr/>
          <p:nvPr/>
        </p:nvGrpSpPr>
        <p:grpSpPr>
          <a:xfrm>
            <a:off x="2280007" y="5807516"/>
            <a:ext cx="213169" cy="412224"/>
            <a:chOff x="2160439" y="5807516"/>
            <a:chExt cx="213169" cy="412224"/>
          </a:xfrm>
        </p:grpSpPr>
        <p:sp>
          <p:nvSpPr>
            <p:cNvPr id="412" name="TextBox 411">
              <a:extLst>
                <a:ext uri="{FF2B5EF4-FFF2-40B4-BE49-F238E27FC236}">
                  <a16:creationId xmlns:a16="http://schemas.microsoft.com/office/drawing/2014/main" id="{74FAF4F5-A698-4118-97F7-337BE9639445}"/>
                </a:ext>
              </a:extLst>
            </p:cNvPr>
            <p:cNvSpPr txBox="1"/>
            <p:nvPr/>
          </p:nvSpPr>
          <p:spPr>
            <a:xfrm>
              <a:off x="2160439" y="6081197"/>
              <a:ext cx="21316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dviso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0" name="Picture 649">
              <a:extLst>
                <a:ext uri="{FF2B5EF4-FFF2-40B4-BE49-F238E27FC236}">
                  <a16:creationId xmlns:a16="http://schemas.microsoft.com/office/drawing/2014/main" id="{68529A7B-A96A-4F3E-A79C-BD1CCFF3D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80"/>
            <a:stretch>
              <a:fillRect/>
            </a:stretch>
          </p:blipFill>
          <p:spPr>
            <a:xfrm>
              <a:off x="2174039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6BB4F5-43B8-4937-944D-B5CD27019C77}"/>
              </a:ext>
            </a:extLst>
          </p:cNvPr>
          <p:cNvGrpSpPr/>
          <p:nvPr/>
        </p:nvGrpSpPr>
        <p:grpSpPr>
          <a:xfrm>
            <a:off x="2649942" y="5807516"/>
            <a:ext cx="280486" cy="342953"/>
            <a:chOff x="2493828" y="5807516"/>
            <a:chExt cx="280486" cy="342953"/>
          </a:xfrm>
        </p:grpSpPr>
        <p:sp>
          <p:nvSpPr>
            <p:cNvPr id="413" name="TextBox 412">
              <a:extLst>
                <a:ext uri="{FF2B5EF4-FFF2-40B4-BE49-F238E27FC236}">
                  <a16:creationId xmlns:a16="http://schemas.microsoft.com/office/drawing/2014/main" id="{3099944E-E0C2-4198-A5C9-192FB0435ED2}"/>
                </a:ext>
              </a:extLst>
            </p:cNvPr>
            <p:cNvSpPr txBox="1"/>
            <p:nvPr/>
          </p:nvSpPr>
          <p:spPr>
            <a:xfrm>
              <a:off x="2493828" y="6081198"/>
              <a:ext cx="280486" cy="692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chedul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1" name="Picture 650">
              <a:extLst>
                <a:ext uri="{FF2B5EF4-FFF2-40B4-BE49-F238E27FC236}">
                  <a16:creationId xmlns:a16="http://schemas.microsoft.com/office/drawing/2014/main" id="{27871231-D6F5-4630-9060-3AF1B34D5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82"/>
            <a:stretch>
              <a:fillRect/>
            </a:stretch>
          </p:blipFill>
          <p:spPr>
            <a:xfrm>
              <a:off x="2541086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27A9573-FA3A-4330-98B0-C118ECBFA2F6}"/>
              </a:ext>
            </a:extLst>
          </p:cNvPr>
          <p:cNvGrpSpPr/>
          <p:nvPr/>
        </p:nvGrpSpPr>
        <p:grpSpPr>
          <a:xfrm>
            <a:off x="3087194" y="5807516"/>
            <a:ext cx="339098" cy="342953"/>
            <a:chOff x="2908540" y="5807516"/>
            <a:chExt cx="339098" cy="342953"/>
          </a:xfrm>
        </p:grpSpPr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8D7B6950-F364-4FB1-A1A9-C4201DF25C44}"/>
                </a:ext>
              </a:extLst>
            </p:cNvPr>
            <p:cNvSpPr txBox="1"/>
            <p:nvPr/>
          </p:nvSpPr>
          <p:spPr>
            <a:xfrm>
              <a:off x="2908540" y="6081198"/>
              <a:ext cx="339098" cy="692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tomation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2" name="Picture 651">
              <a:extLst>
                <a:ext uri="{FF2B5EF4-FFF2-40B4-BE49-F238E27FC236}">
                  <a16:creationId xmlns:a16="http://schemas.microsoft.com/office/drawing/2014/main" id="{226BD442-365C-4458-8931-F6D4904DC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84"/>
            <a:stretch>
              <a:fillRect/>
            </a:stretch>
          </p:blipFill>
          <p:spPr>
            <a:xfrm>
              <a:off x="2985106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74BF7BB-C4E6-478B-A1F7-BFA1E67E2E83}"/>
              </a:ext>
            </a:extLst>
          </p:cNvPr>
          <p:cNvGrpSpPr/>
          <p:nvPr/>
        </p:nvGrpSpPr>
        <p:grpSpPr>
          <a:xfrm>
            <a:off x="3583058" y="5833826"/>
            <a:ext cx="253238" cy="385914"/>
            <a:chOff x="3367859" y="5833826"/>
            <a:chExt cx="253238" cy="385914"/>
          </a:xfrm>
        </p:grpSpPr>
        <p:sp>
          <p:nvSpPr>
            <p:cNvPr id="415" name="TextBox 414">
              <a:extLst>
                <a:ext uri="{FF2B5EF4-FFF2-40B4-BE49-F238E27FC236}">
                  <a16:creationId xmlns:a16="http://schemas.microsoft.com/office/drawing/2014/main" id="{3423C925-E5FB-4341-832C-3EC3EC3E358C}"/>
                </a:ext>
              </a:extLst>
            </p:cNvPr>
            <p:cNvSpPr txBox="1"/>
            <p:nvPr/>
          </p:nvSpPr>
          <p:spPr>
            <a:xfrm>
              <a:off x="3367859" y="6081197"/>
              <a:ext cx="253238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ffic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3" name="Picture 652">
              <a:extLst>
                <a:ext uri="{FF2B5EF4-FFF2-40B4-BE49-F238E27FC236}">
                  <a16:creationId xmlns:a16="http://schemas.microsoft.com/office/drawing/2014/main" id="{30841F26-0812-43A9-8CAF-B30A6DBE4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86"/>
            <a:stretch>
              <a:fillRect/>
            </a:stretch>
          </p:blipFill>
          <p:spPr>
            <a:xfrm>
              <a:off x="3414439" y="5833826"/>
              <a:ext cx="160080" cy="159659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CADBE55-243B-45A6-98DB-35AAD390FDB9}"/>
              </a:ext>
            </a:extLst>
          </p:cNvPr>
          <p:cNvGrpSpPr/>
          <p:nvPr/>
        </p:nvGrpSpPr>
        <p:grpSpPr>
          <a:xfrm>
            <a:off x="3993062" y="5807516"/>
            <a:ext cx="251635" cy="412224"/>
            <a:chOff x="3825361" y="5807516"/>
            <a:chExt cx="251635" cy="412224"/>
          </a:xfrm>
        </p:grpSpPr>
        <p:sp>
          <p:nvSpPr>
            <p:cNvPr id="416" name="TextBox 415">
              <a:extLst>
                <a:ext uri="{FF2B5EF4-FFF2-40B4-BE49-F238E27FC236}">
                  <a16:creationId xmlns:a16="http://schemas.microsoft.com/office/drawing/2014/main" id="{D7645886-758F-4F30-8FD0-1E09D6EBBA4F}"/>
                </a:ext>
              </a:extLst>
            </p:cNvPr>
            <p:cNvSpPr txBox="1"/>
            <p:nvPr/>
          </p:nvSpPr>
          <p:spPr>
            <a:xfrm>
              <a:off x="3825361" y="6081197"/>
              <a:ext cx="251635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g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alytic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4" name="Picture 653">
              <a:extLst>
                <a:ext uri="{FF2B5EF4-FFF2-40B4-BE49-F238E27FC236}">
                  <a16:creationId xmlns:a16="http://schemas.microsoft.com/office/drawing/2014/main" id="{43F431A7-A87A-4998-98AD-8BD9D8384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8"/>
            <a:stretch>
              <a:fillRect/>
            </a:stretch>
          </p:blipFill>
          <p:spPr>
            <a:xfrm>
              <a:off x="3858194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1DE47A2-4A02-402D-8E98-9B01784D165B}"/>
              </a:ext>
            </a:extLst>
          </p:cNvPr>
          <p:cNvGrpSpPr/>
          <p:nvPr/>
        </p:nvGrpSpPr>
        <p:grpSpPr>
          <a:xfrm>
            <a:off x="4401463" y="5807516"/>
            <a:ext cx="229196" cy="412224"/>
            <a:chOff x="4281258" y="5807516"/>
            <a:chExt cx="229196" cy="412224"/>
          </a:xfrm>
        </p:grpSpPr>
        <p:sp>
          <p:nvSpPr>
            <p:cNvPr id="417" name="TextBox 416">
              <a:extLst>
                <a:ext uri="{FF2B5EF4-FFF2-40B4-BE49-F238E27FC236}">
                  <a16:creationId xmlns:a16="http://schemas.microsoft.com/office/drawing/2014/main" id="{B75F9B4F-3F22-4A10-BB76-348A79B293C9}"/>
                </a:ext>
              </a:extLst>
            </p:cNvPr>
            <p:cNvSpPr txBox="1"/>
            <p:nvPr/>
          </p:nvSpPr>
          <p:spPr>
            <a:xfrm>
              <a:off x="4281258" y="6081197"/>
              <a:ext cx="229196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onito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5" name="Picture 654">
              <a:extLst>
                <a:ext uri="{FF2B5EF4-FFF2-40B4-BE49-F238E27FC236}">
                  <a16:creationId xmlns:a16="http://schemas.microsoft.com/office/drawing/2014/main" id="{FEEE0349-3B1B-4B75-9294-7A4B5CFA4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88"/>
            <a:stretch>
              <a:fillRect/>
            </a:stretch>
          </p:blipFill>
          <p:spPr>
            <a:xfrm>
              <a:off x="4302872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5FA297-81D6-4961-8FFA-372D0796275F}"/>
              </a:ext>
            </a:extLst>
          </p:cNvPr>
          <p:cNvGrpSpPr/>
          <p:nvPr/>
        </p:nvGrpSpPr>
        <p:grpSpPr>
          <a:xfrm>
            <a:off x="4787425" y="5807516"/>
            <a:ext cx="333378" cy="412224"/>
            <a:chOff x="4714718" y="5807516"/>
            <a:chExt cx="333378" cy="412224"/>
          </a:xfrm>
        </p:grpSpPr>
        <p:sp>
          <p:nvSpPr>
            <p:cNvPr id="418" name="TextBox 417">
              <a:extLst>
                <a:ext uri="{FF2B5EF4-FFF2-40B4-BE49-F238E27FC236}">
                  <a16:creationId xmlns:a16="http://schemas.microsoft.com/office/drawing/2014/main" id="{EA5B70FD-CA73-4E4D-BD2B-D1FEA95EAE04}"/>
                </a:ext>
              </a:extLst>
            </p:cNvPr>
            <p:cNvSpPr txBox="1"/>
            <p:nvPr/>
          </p:nvSpPr>
          <p:spPr>
            <a:xfrm>
              <a:off x="4714718" y="6081197"/>
              <a:ext cx="333378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8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curity &amp;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8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mplian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6" name="Picture 655">
              <a:extLst>
                <a:ext uri="{FF2B5EF4-FFF2-40B4-BE49-F238E27FC236}">
                  <a16:creationId xmlns:a16="http://schemas.microsoft.com/office/drawing/2014/main" id="{210EA8F6-3D57-4973-BCB4-27E6572BC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1"/>
            <a:stretch>
              <a:fillRect/>
            </a:stretch>
          </p:blipFill>
          <p:spPr>
            <a:xfrm>
              <a:off x="4788423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4ADD561-D779-44D6-9E76-1B2E4039A26A}"/>
              </a:ext>
            </a:extLst>
          </p:cNvPr>
          <p:cNvGrpSpPr/>
          <p:nvPr/>
        </p:nvGrpSpPr>
        <p:grpSpPr>
          <a:xfrm>
            <a:off x="5277569" y="5807516"/>
            <a:ext cx="259649" cy="412182"/>
            <a:chOff x="5252358" y="5807516"/>
            <a:chExt cx="259649" cy="412182"/>
          </a:xfrm>
        </p:grpSpPr>
        <p:sp>
          <p:nvSpPr>
            <p:cNvPr id="419" name="TextBox 418">
              <a:extLst>
                <a:ext uri="{FF2B5EF4-FFF2-40B4-BE49-F238E27FC236}">
                  <a16:creationId xmlns:a16="http://schemas.microsoft.com/office/drawing/2014/main" id="{A542B725-C420-4E8F-A775-23C61B6DAB7E}"/>
                </a:ext>
              </a:extLst>
            </p:cNvPr>
            <p:cNvSpPr txBox="1"/>
            <p:nvPr/>
          </p:nvSpPr>
          <p:spPr>
            <a:xfrm>
              <a:off x="5252358" y="6081199"/>
              <a:ext cx="2596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tch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7" name="Picture 656">
              <a:extLst>
                <a:ext uri="{FF2B5EF4-FFF2-40B4-BE49-F238E27FC236}">
                  <a16:creationId xmlns:a16="http://schemas.microsoft.com/office/drawing/2014/main" id="{CEA0BBFB-D440-4D6B-88A1-16A7667D80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90"/>
            <a:stretch>
              <a:fillRect/>
            </a:stretch>
          </p:blipFill>
          <p:spPr>
            <a:xfrm>
              <a:off x="5289199" y="5807516"/>
              <a:ext cx="185969" cy="185968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3C16775-DA2E-458C-969A-34E3A6F7F6BE}"/>
              </a:ext>
            </a:extLst>
          </p:cNvPr>
          <p:cNvGrpSpPr/>
          <p:nvPr/>
        </p:nvGrpSpPr>
        <p:grpSpPr>
          <a:xfrm>
            <a:off x="5693984" y="5807514"/>
            <a:ext cx="397489" cy="412184"/>
            <a:chOff x="5716272" y="5807514"/>
            <a:chExt cx="397489" cy="412184"/>
          </a:xfrm>
        </p:grpSpPr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054F2567-C30D-4BAC-AE5F-FEB415D7B519}"/>
                </a:ext>
              </a:extLst>
            </p:cNvPr>
            <p:cNvSpPr txBox="1"/>
            <p:nvPr/>
          </p:nvSpPr>
          <p:spPr>
            <a:xfrm>
              <a:off x="5716272" y="6081199"/>
              <a:ext cx="39748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ervic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ealth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8" name="Picture 657">
              <a:extLst>
                <a:ext uri="{FF2B5EF4-FFF2-40B4-BE49-F238E27FC236}">
                  <a16:creationId xmlns:a16="http://schemas.microsoft.com/office/drawing/2014/main" id="{D95B899B-02B2-4214-8279-047229BCB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92"/>
            <a:stretch>
              <a:fillRect/>
            </a:stretch>
          </p:blipFill>
          <p:spPr>
            <a:xfrm>
              <a:off x="5822031" y="5807514"/>
              <a:ext cx="185969" cy="18597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5375C5E-A17D-4EBB-B32C-D1EF0671DE9B}"/>
              </a:ext>
            </a:extLst>
          </p:cNvPr>
          <p:cNvGrpSpPr/>
          <p:nvPr/>
        </p:nvGrpSpPr>
        <p:grpSpPr>
          <a:xfrm>
            <a:off x="6248239" y="5807516"/>
            <a:ext cx="185970" cy="412182"/>
            <a:chOff x="6318022" y="5807516"/>
            <a:chExt cx="185970" cy="412182"/>
          </a:xfrm>
        </p:grpSpPr>
        <p:sp>
          <p:nvSpPr>
            <p:cNvPr id="421" name="TextBox 420">
              <a:extLst>
                <a:ext uri="{FF2B5EF4-FFF2-40B4-BE49-F238E27FC236}">
                  <a16:creationId xmlns:a16="http://schemas.microsoft.com/office/drawing/2014/main" id="{D5CB6219-7E2F-4471-9FF8-9474B77587CD}"/>
                </a:ext>
              </a:extLst>
            </p:cNvPr>
            <p:cNvSpPr txBox="1"/>
            <p:nvPr/>
          </p:nvSpPr>
          <p:spPr>
            <a:xfrm>
              <a:off x="6318022" y="6081199"/>
              <a:ext cx="1811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rtal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59" name="Picture 658">
              <a:extLst>
                <a:ext uri="{FF2B5EF4-FFF2-40B4-BE49-F238E27FC236}">
                  <a16:creationId xmlns:a16="http://schemas.microsoft.com/office/drawing/2014/main" id="{A1ED80A5-6D31-455D-B29D-64AD3E626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94"/>
            <a:stretch>
              <a:fillRect/>
            </a:stretch>
          </p:blipFill>
          <p:spPr>
            <a:xfrm>
              <a:off x="6318022" y="5807516"/>
              <a:ext cx="185970" cy="185968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0EBB14C-068B-47B0-B956-4A30B7102C6C}"/>
              </a:ext>
            </a:extLst>
          </p:cNvPr>
          <p:cNvGrpSpPr/>
          <p:nvPr/>
        </p:nvGrpSpPr>
        <p:grpSpPr>
          <a:xfrm>
            <a:off x="6590975" y="5807514"/>
            <a:ext cx="456790" cy="412184"/>
            <a:chOff x="6703400" y="5807514"/>
            <a:chExt cx="456790" cy="412184"/>
          </a:xfrm>
        </p:grpSpPr>
        <p:sp>
          <p:nvSpPr>
            <p:cNvPr id="422" name="TextBox 421">
              <a:extLst>
                <a:ext uri="{FF2B5EF4-FFF2-40B4-BE49-F238E27FC236}">
                  <a16:creationId xmlns:a16="http://schemas.microsoft.com/office/drawing/2014/main" id="{30A4B7B7-C485-4850-A549-4A0F0AE0F9A4}"/>
                </a:ext>
              </a:extLst>
            </p:cNvPr>
            <p:cNvSpPr txBox="1"/>
            <p:nvPr/>
          </p:nvSpPr>
          <p:spPr>
            <a:xfrm>
              <a:off x="6703400" y="6081199"/>
              <a:ext cx="4567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Resourc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0" name="Picture 659">
              <a:extLst>
                <a:ext uri="{FF2B5EF4-FFF2-40B4-BE49-F238E27FC236}">
                  <a16:creationId xmlns:a16="http://schemas.microsoft.com/office/drawing/2014/main" id="{4AFC2337-D731-4370-A47D-622EEED89C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95"/>
            <a:stretch>
              <a:fillRect/>
            </a:stretch>
          </p:blipFill>
          <p:spPr>
            <a:xfrm>
              <a:off x="6821970" y="5807514"/>
              <a:ext cx="219650" cy="18597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0040BDF-5A09-499F-910A-A5E09355C3C2}"/>
              </a:ext>
            </a:extLst>
          </p:cNvPr>
          <p:cNvGrpSpPr/>
          <p:nvPr/>
        </p:nvGrpSpPr>
        <p:grpSpPr>
          <a:xfrm>
            <a:off x="7204531" y="5807516"/>
            <a:ext cx="262837" cy="412182"/>
            <a:chOff x="7314486" y="5807516"/>
            <a:chExt cx="262837" cy="412182"/>
          </a:xfrm>
        </p:grpSpPr>
        <p:sp>
          <p:nvSpPr>
            <p:cNvPr id="424" name="TextBox 423">
              <a:extLst>
                <a:ext uri="{FF2B5EF4-FFF2-40B4-BE49-F238E27FC236}">
                  <a16:creationId xmlns:a16="http://schemas.microsoft.com/office/drawing/2014/main" id="{031B4358-44B5-4B72-BE84-154850F28423}"/>
                </a:ext>
              </a:extLst>
            </p:cNvPr>
            <p:cNvSpPr txBox="1"/>
            <p:nvPr/>
          </p:nvSpPr>
          <p:spPr>
            <a:xfrm>
              <a:off x="7352943" y="6081199"/>
              <a:ext cx="1859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oud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ell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1" name="Picture 660">
              <a:extLst>
                <a:ext uri="{FF2B5EF4-FFF2-40B4-BE49-F238E27FC236}">
                  <a16:creationId xmlns:a16="http://schemas.microsoft.com/office/drawing/2014/main" id="{4AC7D95F-F81E-43EF-8726-5F61B504A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96"/>
            <a:stretch>
              <a:fillRect/>
            </a:stretch>
          </p:blipFill>
          <p:spPr>
            <a:xfrm>
              <a:off x="7314486" y="5807516"/>
              <a:ext cx="262837" cy="185968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460C799-0570-43C3-BF19-3875E700ACAA}"/>
              </a:ext>
            </a:extLst>
          </p:cNvPr>
          <p:cNvGrpSpPr/>
          <p:nvPr/>
        </p:nvGrpSpPr>
        <p:grpSpPr>
          <a:xfrm>
            <a:off x="7624134" y="5807514"/>
            <a:ext cx="334981" cy="412184"/>
            <a:chOff x="7754637" y="5807514"/>
            <a:chExt cx="334981" cy="412184"/>
          </a:xfrm>
        </p:grpSpPr>
        <p:sp>
          <p:nvSpPr>
            <p:cNvPr id="425" name="TextBox 424">
              <a:extLst>
                <a:ext uri="{FF2B5EF4-FFF2-40B4-BE49-F238E27FC236}">
                  <a16:creationId xmlns:a16="http://schemas.microsoft.com/office/drawing/2014/main" id="{1B60920B-BD6F-41F3-B4BA-1347089F2491}"/>
                </a:ext>
              </a:extLst>
            </p:cNvPr>
            <p:cNvSpPr txBox="1"/>
            <p:nvPr/>
          </p:nvSpPr>
          <p:spPr>
            <a:xfrm>
              <a:off x="7754637" y="6081199"/>
              <a:ext cx="33498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obile App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3" name="Picture 662">
              <a:extLst>
                <a:ext uri="{FF2B5EF4-FFF2-40B4-BE49-F238E27FC236}">
                  <a16:creationId xmlns:a16="http://schemas.microsoft.com/office/drawing/2014/main" id="{42CC2FC6-E855-4015-8840-504C757B4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97"/>
            <a:stretch>
              <a:fillRect/>
            </a:stretch>
          </p:blipFill>
          <p:spPr>
            <a:xfrm>
              <a:off x="7829143" y="5807514"/>
              <a:ext cx="185970" cy="18597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B9E5FF-3563-4399-8D13-DF58EFE2EE4F}"/>
              </a:ext>
            </a:extLst>
          </p:cNvPr>
          <p:cNvGrpSpPr/>
          <p:nvPr/>
        </p:nvGrpSpPr>
        <p:grpSpPr>
          <a:xfrm>
            <a:off x="8115881" y="5807516"/>
            <a:ext cx="185970" cy="412182"/>
            <a:chOff x="8293881" y="5807516"/>
            <a:chExt cx="185970" cy="412182"/>
          </a:xfrm>
        </p:grpSpPr>
        <p:sp>
          <p:nvSpPr>
            <p:cNvPr id="426" name="TextBox 425">
              <a:extLst>
                <a:ext uri="{FF2B5EF4-FFF2-40B4-BE49-F238E27FC236}">
                  <a16:creationId xmlns:a16="http://schemas.microsoft.com/office/drawing/2014/main" id="{5E927533-27BC-4E8B-8330-42ECC15231EB}"/>
                </a:ext>
              </a:extLst>
            </p:cNvPr>
            <p:cNvSpPr txBox="1"/>
            <p:nvPr/>
          </p:nvSpPr>
          <p:spPr>
            <a:xfrm>
              <a:off x="8293881" y="6081199"/>
              <a:ext cx="1811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licy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4" name="Picture 663">
              <a:extLst>
                <a:ext uri="{FF2B5EF4-FFF2-40B4-BE49-F238E27FC236}">
                  <a16:creationId xmlns:a16="http://schemas.microsoft.com/office/drawing/2014/main" id="{E2700497-755E-4860-888B-71624622E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98"/>
            <a:stretch>
              <a:fillRect/>
            </a:stretch>
          </p:blipFill>
          <p:spPr>
            <a:xfrm>
              <a:off x="8293881" y="5807516"/>
              <a:ext cx="185970" cy="185968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755E42B-CB93-458A-851D-303A22ACB30B}"/>
              </a:ext>
            </a:extLst>
          </p:cNvPr>
          <p:cNvGrpSpPr/>
          <p:nvPr/>
        </p:nvGrpSpPr>
        <p:grpSpPr>
          <a:xfrm>
            <a:off x="8458617" y="5807516"/>
            <a:ext cx="286896" cy="412182"/>
            <a:chOff x="8679259" y="5807516"/>
            <a:chExt cx="286896" cy="412182"/>
          </a:xfrm>
        </p:grpSpPr>
        <p:sp>
          <p:nvSpPr>
            <p:cNvPr id="427" name="TextBox 426">
              <a:extLst>
                <a:ext uri="{FF2B5EF4-FFF2-40B4-BE49-F238E27FC236}">
                  <a16:creationId xmlns:a16="http://schemas.microsoft.com/office/drawing/2014/main" id="{0F24CAA1-F505-478A-A1B0-D7CC238724D9}"/>
                </a:ext>
              </a:extLst>
            </p:cNvPr>
            <p:cNvSpPr txBox="1"/>
            <p:nvPr/>
          </p:nvSpPr>
          <p:spPr>
            <a:xfrm>
              <a:off x="8679259" y="6081199"/>
              <a:ext cx="28689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lueprint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5" name="Picture 664">
              <a:extLst>
                <a:ext uri="{FF2B5EF4-FFF2-40B4-BE49-F238E27FC236}">
                  <a16:creationId xmlns:a16="http://schemas.microsoft.com/office/drawing/2014/main" id="{B6BC1CCF-53AE-4C7A-9341-60A3945E4E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99"/>
            <a:stretch>
              <a:fillRect/>
            </a:stretch>
          </p:blipFill>
          <p:spPr>
            <a:xfrm>
              <a:off x="8729721" y="5807516"/>
              <a:ext cx="185970" cy="18596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447BABC-F10D-4504-A99A-6EF151CF2273}"/>
              </a:ext>
            </a:extLst>
          </p:cNvPr>
          <p:cNvGrpSpPr/>
          <p:nvPr/>
        </p:nvGrpSpPr>
        <p:grpSpPr>
          <a:xfrm>
            <a:off x="8902279" y="5807514"/>
            <a:ext cx="448777" cy="412226"/>
            <a:chOff x="9170419" y="5807514"/>
            <a:chExt cx="448777" cy="412226"/>
          </a:xfrm>
        </p:grpSpPr>
        <p:sp>
          <p:nvSpPr>
            <p:cNvPr id="428" name="TextBox 427">
              <a:extLst>
                <a:ext uri="{FF2B5EF4-FFF2-40B4-BE49-F238E27FC236}">
                  <a16:creationId xmlns:a16="http://schemas.microsoft.com/office/drawing/2014/main" id="{9A9B07AA-51F5-4F71-BB54-CC5D7DB207B3}"/>
                </a:ext>
              </a:extLst>
            </p:cNvPr>
            <p:cNvSpPr txBox="1"/>
            <p:nvPr/>
          </p:nvSpPr>
          <p:spPr>
            <a:xfrm>
              <a:off x="9170419" y="6081197"/>
              <a:ext cx="448777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source Graph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66" name="Picture 665">
              <a:extLst>
                <a:ext uri="{FF2B5EF4-FFF2-40B4-BE49-F238E27FC236}">
                  <a16:creationId xmlns:a16="http://schemas.microsoft.com/office/drawing/2014/main" id="{8B5BB1A4-7B75-4114-A1E3-51B903CC8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00"/>
            <a:stretch>
              <a:fillRect/>
            </a:stretch>
          </p:blipFill>
          <p:spPr>
            <a:xfrm>
              <a:off x="9301821" y="5807514"/>
              <a:ext cx="185970" cy="18597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7DD7AFB-5A5F-43D8-AF88-00202A0A0C43}"/>
              </a:ext>
            </a:extLst>
          </p:cNvPr>
          <p:cNvGrpSpPr/>
          <p:nvPr/>
        </p:nvGrpSpPr>
        <p:grpSpPr>
          <a:xfrm>
            <a:off x="9507822" y="5807514"/>
            <a:ext cx="378255" cy="412226"/>
            <a:chOff x="9823459" y="5807514"/>
            <a:chExt cx="378255" cy="412226"/>
          </a:xfrm>
        </p:grpSpPr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2E7EDF73-2F38-4CB3-9999-7A2305C495C2}"/>
                </a:ext>
              </a:extLst>
            </p:cNvPr>
            <p:cNvSpPr txBox="1"/>
            <p:nvPr/>
          </p:nvSpPr>
          <p:spPr>
            <a:xfrm>
              <a:off x="9823459" y="6081197"/>
              <a:ext cx="378255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st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ment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76" name="Picture 675">
              <a:extLst>
                <a:ext uri="{FF2B5EF4-FFF2-40B4-BE49-F238E27FC236}">
                  <a16:creationId xmlns:a16="http://schemas.microsoft.com/office/drawing/2014/main" id="{68F3C36D-84F0-4DD3-B6D6-CA4C626DB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01"/>
            <a:stretch>
              <a:fillRect/>
            </a:stretch>
          </p:blipFill>
          <p:spPr>
            <a:xfrm>
              <a:off x="9919602" y="5807514"/>
              <a:ext cx="185969" cy="18597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769B67E-373B-42A4-AB20-67F8D1DCB88F}"/>
              </a:ext>
            </a:extLst>
          </p:cNvPr>
          <p:cNvGrpSpPr/>
          <p:nvPr/>
        </p:nvGrpSpPr>
        <p:grpSpPr>
          <a:xfrm>
            <a:off x="10042843" y="5807514"/>
            <a:ext cx="432749" cy="412226"/>
            <a:chOff x="10405978" y="5807514"/>
            <a:chExt cx="432749" cy="412226"/>
          </a:xfrm>
        </p:grpSpPr>
        <p:sp>
          <p:nvSpPr>
            <p:cNvPr id="430" name="TextBox 429">
              <a:extLst>
                <a:ext uri="{FF2B5EF4-FFF2-40B4-BE49-F238E27FC236}">
                  <a16:creationId xmlns:a16="http://schemas.microsoft.com/office/drawing/2014/main" id="{C5646B7E-8AB1-4F45-A5B5-ABEABED09F29}"/>
                </a:ext>
              </a:extLst>
            </p:cNvPr>
            <p:cNvSpPr txBox="1"/>
            <p:nvPr/>
          </p:nvSpPr>
          <p:spPr>
            <a:xfrm>
              <a:off x="10405978" y="6081197"/>
              <a:ext cx="43274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d Apps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77" name="Picture 676">
              <a:extLst>
                <a:ext uri="{FF2B5EF4-FFF2-40B4-BE49-F238E27FC236}">
                  <a16:creationId xmlns:a16="http://schemas.microsoft.com/office/drawing/2014/main" id="{A63C974A-F355-4055-B87B-32FB8924F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02"/>
            <a:stretch>
              <a:fillRect/>
            </a:stretch>
          </p:blipFill>
          <p:spPr>
            <a:xfrm>
              <a:off x="10529366" y="5807514"/>
              <a:ext cx="185970" cy="185970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A41109F-F519-4FF3-9FB6-265E135775D7}"/>
              </a:ext>
            </a:extLst>
          </p:cNvPr>
          <p:cNvGrpSpPr/>
          <p:nvPr/>
        </p:nvGrpSpPr>
        <p:grpSpPr>
          <a:xfrm>
            <a:off x="10632358" y="5825370"/>
            <a:ext cx="223163" cy="394370"/>
            <a:chOff x="11042611" y="5825370"/>
            <a:chExt cx="223163" cy="394370"/>
          </a:xfrm>
        </p:grpSpPr>
        <p:sp>
          <p:nvSpPr>
            <p:cNvPr id="431" name="TextBox 430">
              <a:extLst>
                <a:ext uri="{FF2B5EF4-FFF2-40B4-BE49-F238E27FC236}">
                  <a16:creationId xmlns:a16="http://schemas.microsoft.com/office/drawing/2014/main" id="{EBA86618-2534-49BD-8ECE-62EBE9B51CF9}"/>
                </a:ext>
              </a:extLst>
            </p:cNvPr>
            <p:cNvSpPr txBox="1"/>
            <p:nvPr/>
          </p:nvSpPr>
          <p:spPr>
            <a:xfrm>
              <a:off x="11042801" y="6081197"/>
              <a:ext cx="222786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</a:p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grat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78" name="Picture 677">
              <a:extLst>
                <a:ext uri="{FF2B5EF4-FFF2-40B4-BE49-F238E27FC236}">
                  <a16:creationId xmlns:a16="http://schemas.microsoft.com/office/drawing/2014/main" id="{C2662FD6-D865-4D2A-87E8-BD5CF5CEE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03"/>
            <a:stretch>
              <a:fillRect/>
            </a:stretch>
          </p:blipFill>
          <p:spPr>
            <a:xfrm>
              <a:off x="11042611" y="5825370"/>
              <a:ext cx="223163" cy="168114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7F239E2-3402-4660-8242-0310D4F2E084}"/>
              </a:ext>
            </a:extLst>
          </p:cNvPr>
          <p:cNvGrpSpPr/>
          <p:nvPr/>
        </p:nvGrpSpPr>
        <p:grpSpPr>
          <a:xfrm>
            <a:off x="11012287" y="5807515"/>
            <a:ext cx="185970" cy="342932"/>
            <a:chOff x="11460378" y="5807515"/>
            <a:chExt cx="185970" cy="342932"/>
          </a:xfrm>
        </p:grpSpPr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83C80D62-7CE7-47DD-8173-8FE8BA8548EC}"/>
                </a:ext>
              </a:extLst>
            </p:cNvPr>
            <p:cNvSpPr txBox="1"/>
            <p:nvPr/>
          </p:nvSpPr>
          <p:spPr>
            <a:xfrm>
              <a:off x="11465210" y="6081197"/>
              <a:ext cx="176305" cy="6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0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lling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79" name="Picture 678">
              <a:extLst>
                <a:ext uri="{FF2B5EF4-FFF2-40B4-BE49-F238E27FC236}">
                  <a16:creationId xmlns:a16="http://schemas.microsoft.com/office/drawing/2014/main" id="{0401DE07-E5C2-491A-A7D5-8F6BA36734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05"/>
            <a:stretch>
              <a:fillRect/>
            </a:stretch>
          </p:blipFill>
          <p:spPr>
            <a:xfrm>
              <a:off x="11460378" y="5807515"/>
              <a:ext cx="185970" cy="185969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D4FB518-4E1C-49E9-87A7-4C18F3D84AC3}"/>
              </a:ext>
            </a:extLst>
          </p:cNvPr>
          <p:cNvGrpSpPr/>
          <p:nvPr/>
        </p:nvGrpSpPr>
        <p:grpSpPr>
          <a:xfrm>
            <a:off x="1135310" y="6331465"/>
            <a:ext cx="330172" cy="416581"/>
            <a:chOff x="991388" y="6331465"/>
            <a:chExt cx="330172" cy="416581"/>
          </a:xfrm>
        </p:grpSpPr>
        <p:sp>
          <p:nvSpPr>
            <p:cNvPr id="433" name="TextBox 432">
              <a:extLst>
                <a:ext uri="{FF2B5EF4-FFF2-40B4-BE49-F238E27FC236}">
                  <a16:creationId xmlns:a16="http://schemas.microsoft.com/office/drawing/2014/main" id="{5488FE7D-8363-4085-A9DB-9D88044C9B05}"/>
                </a:ext>
              </a:extLst>
            </p:cNvPr>
            <p:cNvSpPr txBox="1"/>
            <p:nvPr/>
          </p:nvSpPr>
          <p:spPr>
            <a:xfrm>
              <a:off x="991388" y="6609547"/>
              <a:ext cx="33017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0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tack Hub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680" name="Picture 679">
              <a:extLst>
                <a:ext uri="{FF2B5EF4-FFF2-40B4-BE49-F238E27FC236}">
                  <a16:creationId xmlns:a16="http://schemas.microsoft.com/office/drawing/2014/main" id="{C81E89E8-53E4-4185-BE55-5110FAB85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07"/>
            <a:stretch>
              <a:fillRect/>
            </a:stretch>
          </p:blipFill>
          <p:spPr>
            <a:xfrm>
              <a:off x="1045350" y="6331465"/>
              <a:ext cx="222246" cy="22224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950852A-923F-4CA9-A5B5-61883531A17F}"/>
              </a:ext>
            </a:extLst>
          </p:cNvPr>
          <p:cNvGrpSpPr/>
          <p:nvPr/>
        </p:nvGrpSpPr>
        <p:grpSpPr>
          <a:xfrm>
            <a:off x="2581066" y="6331465"/>
            <a:ext cx="342364" cy="416559"/>
            <a:chOff x="2175172" y="6331465"/>
            <a:chExt cx="342364" cy="416559"/>
          </a:xfrm>
        </p:grpSpPr>
        <p:sp>
          <p:nvSpPr>
            <p:cNvPr id="435" name="TextBox 434">
              <a:extLst>
                <a:ext uri="{FF2B5EF4-FFF2-40B4-BE49-F238E27FC236}">
                  <a16:creationId xmlns:a16="http://schemas.microsoft.com/office/drawing/2014/main" id="{C33AE8D5-8B6F-4608-BA4E-44E1899A519E}"/>
                </a:ext>
              </a:extLst>
            </p:cNvPr>
            <p:cNvSpPr txBox="1"/>
            <p:nvPr/>
          </p:nvSpPr>
          <p:spPr>
            <a:xfrm>
              <a:off x="2175172" y="6609525"/>
              <a:ext cx="34236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0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tack Hub Us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11" name="Picture 710">
              <a:extLst>
                <a:ext uri="{FF2B5EF4-FFF2-40B4-BE49-F238E27FC236}">
                  <a16:creationId xmlns:a16="http://schemas.microsoft.com/office/drawing/2014/main" id="{431F0FF0-7D47-4E0B-B74B-C7F6255D8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07"/>
            <a:stretch>
              <a:fillRect/>
            </a:stretch>
          </p:blipFill>
          <p:spPr>
            <a:xfrm>
              <a:off x="2235231" y="6331465"/>
              <a:ext cx="222246" cy="222246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F933F6-5C55-4F9C-AC8D-00ABC0836EDE}"/>
              </a:ext>
            </a:extLst>
          </p:cNvPr>
          <p:cNvGrpSpPr/>
          <p:nvPr/>
        </p:nvGrpSpPr>
        <p:grpSpPr>
          <a:xfrm>
            <a:off x="3052852" y="6331465"/>
            <a:ext cx="516683" cy="416559"/>
            <a:chOff x="2866600" y="6331465"/>
            <a:chExt cx="516683" cy="416559"/>
          </a:xfrm>
        </p:grpSpPr>
        <p:sp>
          <p:nvSpPr>
            <p:cNvPr id="436" name="TextBox 435">
              <a:extLst>
                <a:ext uri="{FF2B5EF4-FFF2-40B4-BE49-F238E27FC236}">
                  <a16:creationId xmlns:a16="http://schemas.microsoft.com/office/drawing/2014/main" id="{1441C864-23A9-45BB-ADDE-FA98BE91E8AB}"/>
                </a:ext>
              </a:extLst>
            </p:cNvPr>
            <p:cNvSpPr txBox="1"/>
            <p:nvPr/>
          </p:nvSpPr>
          <p:spPr>
            <a:xfrm>
              <a:off x="2866600" y="6609525"/>
              <a:ext cx="5166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0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tack Hub Dev Kit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712" name="Picture 711">
              <a:extLst>
                <a:ext uri="{FF2B5EF4-FFF2-40B4-BE49-F238E27FC236}">
                  <a16:creationId xmlns:a16="http://schemas.microsoft.com/office/drawing/2014/main" id="{63583359-FC1D-4309-B489-237E670DA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07"/>
            <a:stretch>
              <a:fillRect/>
            </a:stretch>
          </p:blipFill>
          <p:spPr>
            <a:xfrm>
              <a:off x="2939796" y="6331465"/>
              <a:ext cx="222246" cy="222246"/>
            </a:xfrm>
            <a:prstGeom prst="rect">
              <a:avLst/>
            </a:prstGeom>
          </p:spPr>
        </p:pic>
      </p:grpSp>
      <p:pic>
        <p:nvPicPr>
          <p:cNvPr id="713" name="Picture 712">
            <a:extLst>
              <a:ext uri="{FF2B5EF4-FFF2-40B4-BE49-F238E27FC236}">
                <a16:creationId xmlns:a16="http://schemas.microsoft.com/office/drawing/2014/main" id="{A20BDCD3-48EC-47D1-9A23-43420DAA6F87}"/>
              </a:ext>
            </a:extLst>
          </p:cNvPr>
          <p:cNvPicPr>
            <a:picLocks noChangeAspect="1"/>
          </p:cNvPicPr>
          <p:nvPr/>
        </p:nvPicPr>
        <p:blipFill>
          <a:blip r:embed="rId410"/>
          <a:stretch>
            <a:fillRect/>
          </a:stretch>
        </p:blipFill>
        <p:spPr>
          <a:xfrm>
            <a:off x="4421044" y="6376275"/>
            <a:ext cx="254781" cy="177437"/>
          </a:xfrm>
          <a:prstGeom prst="rect">
            <a:avLst/>
          </a:prstGeom>
        </p:spPr>
      </p:pic>
      <p:pic>
        <p:nvPicPr>
          <p:cNvPr id="714" name="Picture 713">
            <a:extLst>
              <a:ext uri="{FF2B5EF4-FFF2-40B4-BE49-F238E27FC236}">
                <a16:creationId xmlns:a16="http://schemas.microsoft.com/office/drawing/2014/main" id="{8868863C-297A-47C9-A66A-9A81BEDCD52D}"/>
              </a:ext>
            </a:extLst>
          </p:cNvPr>
          <p:cNvPicPr>
            <a:picLocks noChangeAspect="1"/>
          </p:cNvPicPr>
          <p:nvPr/>
        </p:nvPicPr>
        <p:blipFill>
          <a:blip r:embed="rId410"/>
          <a:stretch>
            <a:fillRect/>
          </a:stretch>
        </p:blipFill>
        <p:spPr>
          <a:xfrm>
            <a:off x="4870266" y="6376275"/>
            <a:ext cx="254781" cy="177437"/>
          </a:xfrm>
          <a:prstGeom prst="rect">
            <a:avLst/>
          </a:prstGeom>
        </p:spPr>
      </p:pic>
      <p:pic>
        <p:nvPicPr>
          <p:cNvPr id="715" name="Picture 714">
            <a:extLst>
              <a:ext uri="{FF2B5EF4-FFF2-40B4-BE49-F238E27FC236}">
                <a16:creationId xmlns:a16="http://schemas.microsoft.com/office/drawing/2014/main" id="{FE0E7915-1FCC-4FE7-8220-8B91EBE718D9}"/>
              </a:ext>
            </a:extLst>
          </p:cNvPr>
          <p:cNvPicPr>
            <a:picLocks noChangeAspect="1"/>
          </p:cNvPicPr>
          <p:nvPr/>
        </p:nvPicPr>
        <p:blipFill>
          <a:blip r:embed="rId410"/>
          <a:stretch>
            <a:fillRect/>
          </a:stretch>
        </p:blipFill>
        <p:spPr>
          <a:xfrm>
            <a:off x="5329730" y="6376275"/>
            <a:ext cx="254781" cy="177437"/>
          </a:xfrm>
          <a:prstGeom prst="rect">
            <a:avLst/>
          </a:prstGeom>
        </p:spPr>
      </p:pic>
      <p:pic>
        <p:nvPicPr>
          <p:cNvPr id="716" name="Picture 715">
            <a:extLst>
              <a:ext uri="{FF2B5EF4-FFF2-40B4-BE49-F238E27FC236}">
                <a16:creationId xmlns:a16="http://schemas.microsoft.com/office/drawing/2014/main" id="{C68A3BF9-032E-4241-B2B0-387B887C8E3D}"/>
              </a:ext>
            </a:extLst>
          </p:cNvPr>
          <p:cNvPicPr>
            <a:picLocks noChangeAspect="1"/>
          </p:cNvPicPr>
          <p:nvPr/>
        </p:nvPicPr>
        <p:blipFill>
          <a:blip r:embed="rId3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911" y="6358224"/>
            <a:ext cx="195488" cy="195487"/>
          </a:xfrm>
          <a:prstGeom prst="rect">
            <a:avLst/>
          </a:prstGeom>
        </p:spPr>
      </p:pic>
      <p:pic>
        <p:nvPicPr>
          <p:cNvPr id="717" name="Picture 716">
            <a:extLst>
              <a:ext uri="{FF2B5EF4-FFF2-40B4-BE49-F238E27FC236}">
                <a16:creationId xmlns:a16="http://schemas.microsoft.com/office/drawing/2014/main" id="{948A8207-C777-4D85-BB1D-26FF0516233F}"/>
              </a:ext>
            </a:extLst>
          </p:cNvPr>
          <p:cNvPicPr>
            <a:picLocks noChangeAspect="1"/>
          </p:cNvPicPr>
          <p:nvPr/>
        </p:nvPicPr>
        <p:blipFill>
          <a:blip r:embed="rId401"/>
          <a:stretch>
            <a:fillRect/>
          </a:stretch>
        </p:blipFill>
        <p:spPr>
          <a:xfrm>
            <a:off x="6877909" y="6361560"/>
            <a:ext cx="192152" cy="192151"/>
          </a:xfrm>
          <a:prstGeom prst="rect">
            <a:avLst/>
          </a:prstGeom>
        </p:spPr>
      </p:pic>
      <p:pic>
        <p:nvPicPr>
          <p:cNvPr id="718" name="Picture 717">
            <a:extLst>
              <a:ext uri="{FF2B5EF4-FFF2-40B4-BE49-F238E27FC236}">
                <a16:creationId xmlns:a16="http://schemas.microsoft.com/office/drawing/2014/main" id="{3F814A8F-08A6-4284-82E4-94DA41FDE4C2}"/>
              </a:ext>
            </a:extLst>
          </p:cNvPr>
          <p:cNvPicPr>
            <a:picLocks noChangeAspect="1"/>
          </p:cNvPicPr>
          <p:nvPr/>
        </p:nvPicPr>
        <p:blipFill>
          <a:blip r:embed="rId411"/>
          <a:stretch>
            <a:fillRect/>
          </a:stretch>
        </p:blipFill>
        <p:spPr>
          <a:xfrm>
            <a:off x="7394345" y="6361559"/>
            <a:ext cx="192153" cy="192152"/>
          </a:xfrm>
          <a:prstGeom prst="rect">
            <a:avLst/>
          </a:prstGeom>
        </p:spPr>
      </p:pic>
      <p:pic>
        <p:nvPicPr>
          <p:cNvPr id="719" name="Picture 718">
            <a:extLst>
              <a:ext uri="{FF2B5EF4-FFF2-40B4-BE49-F238E27FC236}">
                <a16:creationId xmlns:a16="http://schemas.microsoft.com/office/drawing/2014/main" id="{8C286B82-0A51-4E7E-9C26-5623F0638173}"/>
              </a:ext>
            </a:extLst>
          </p:cNvPr>
          <p:cNvPicPr>
            <a:picLocks noChangeAspect="1"/>
          </p:cNvPicPr>
          <p:nvPr/>
        </p:nvPicPr>
        <p:blipFill>
          <a:blip r:embed="rId403"/>
          <a:stretch>
            <a:fillRect/>
          </a:stretch>
        </p:blipFill>
        <p:spPr>
          <a:xfrm>
            <a:off x="7848860" y="6380004"/>
            <a:ext cx="230583" cy="173707"/>
          </a:xfrm>
          <a:prstGeom prst="rect">
            <a:avLst/>
          </a:prstGeom>
        </p:spPr>
      </p:pic>
      <p:pic>
        <p:nvPicPr>
          <p:cNvPr id="720" name="Picture 719">
            <a:extLst>
              <a:ext uri="{FF2B5EF4-FFF2-40B4-BE49-F238E27FC236}">
                <a16:creationId xmlns:a16="http://schemas.microsoft.com/office/drawing/2014/main" id="{8A062B1A-0ECC-4865-8C5B-6358717B4910}"/>
              </a:ext>
            </a:extLst>
          </p:cNvPr>
          <p:cNvPicPr>
            <a:picLocks noChangeAspect="1"/>
          </p:cNvPicPr>
          <p:nvPr/>
        </p:nvPicPr>
        <p:blipFill>
          <a:blip r:embed="rId356"/>
          <a:stretch>
            <a:fillRect/>
          </a:stretch>
        </p:blipFill>
        <p:spPr>
          <a:xfrm>
            <a:off x="8958212" y="6345981"/>
            <a:ext cx="226406" cy="226406"/>
          </a:xfrm>
          <a:prstGeom prst="rect">
            <a:avLst/>
          </a:prstGeom>
        </p:spPr>
      </p:pic>
      <p:pic>
        <p:nvPicPr>
          <p:cNvPr id="721" name="Picture 720">
            <a:extLst>
              <a:ext uri="{FF2B5EF4-FFF2-40B4-BE49-F238E27FC236}">
                <a16:creationId xmlns:a16="http://schemas.microsoft.com/office/drawing/2014/main" id="{2BF6EC31-7AE9-4A45-A41F-FBDC1DAC8E69}"/>
              </a:ext>
            </a:extLst>
          </p:cNvPr>
          <p:cNvPicPr>
            <a:picLocks noChangeAspect="1"/>
          </p:cNvPicPr>
          <p:nvPr/>
        </p:nvPicPr>
        <p:blipFill>
          <a:blip r:embed="rId412"/>
          <a:stretch>
            <a:fillRect/>
          </a:stretch>
        </p:blipFill>
        <p:spPr>
          <a:xfrm>
            <a:off x="9552957" y="6345980"/>
            <a:ext cx="226407" cy="226407"/>
          </a:xfrm>
          <a:prstGeom prst="rect">
            <a:avLst/>
          </a:prstGeom>
        </p:spPr>
      </p:pic>
      <p:pic>
        <p:nvPicPr>
          <p:cNvPr id="723" name="Graphic 722">
            <a:extLst>
              <a:ext uri="{FF2B5EF4-FFF2-40B4-BE49-F238E27FC236}">
                <a16:creationId xmlns:a16="http://schemas.microsoft.com/office/drawing/2014/main" id="{1CB5AE04-B0AC-4AAE-A91F-C78C2B73773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06453" y="4121655"/>
            <a:ext cx="164570" cy="164569"/>
          </a:xfrm>
          <a:prstGeom prst="rect">
            <a:avLst/>
          </a:prstGeom>
        </p:spPr>
      </p:pic>
      <p:pic>
        <p:nvPicPr>
          <p:cNvPr id="725" name="Graphic 724">
            <a:extLst>
              <a:ext uri="{FF2B5EF4-FFF2-40B4-BE49-F238E27FC236}">
                <a16:creationId xmlns:a16="http://schemas.microsoft.com/office/drawing/2014/main" id="{249459FB-0E33-4540-B697-5F17E695FA3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776168" y="4121655"/>
            <a:ext cx="164570" cy="164569"/>
          </a:xfrm>
          <a:prstGeom prst="rect">
            <a:avLst/>
          </a:prstGeom>
        </p:spPr>
      </p:pic>
      <p:cxnSp>
        <p:nvCxnSpPr>
          <p:cNvPr id="722" name="Straight Connector 721">
            <a:extLst>
              <a:ext uri="{FF2B5EF4-FFF2-40B4-BE49-F238E27FC236}">
                <a16:creationId xmlns:a16="http://schemas.microsoft.com/office/drawing/2014/main" id="{90CFBEC0-0E19-4349-AF8A-753FEC9D2512}"/>
              </a:ext>
            </a:extLst>
          </p:cNvPr>
          <p:cNvCxnSpPr>
            <a:cxnSpLocks/>
          </p:cNvCxnSpPr>
          <p:nvPr/>
        </p:nvCxnSpPr>
        <p:spPr>
          <a:xfrm flipH="1">
            <a:off x="494824" y="208795"/>
            <a:ext cx="457135" cy="0"/>
          </a:xfrm>
          <a:prstGeom prst="line">
            <a:avLst/>
          </a:prstGeom>
          <a:ln w="6350">
            <a:solidFill>
              <a:schemeClr val="bg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4" name="Picture 723">
            <a:extLst>
              <a:ext uri="{FF2B5EF4-FFF2-40B4-BE49-F238E27FC236}">
                <a16:creationId xmlns:a16="http://schemas.microsoft.com/office/drawing/2014/main" id="{E3A336B7-3485-403C-BCCC-40040B532050}"/>
              </a:ext>
            </a:extLst>
          </p:cNvPr>
          <p:cNvPicPr>
            <a:picLocks noChangeAspect="1"/>
          </p:cNvPicPr>
          <p:nvPr/>
        </p:nvPicPr>
        <p:blipFill>
          <a:blip r:embed="rId413"/>
          <a:stretch>
            <a:fillRect/>
          </a:stretch>
        </p:blipFill>
        <p:spPr>
          <a:xfrm>
            <a:off x="10264879" y="6408419"/>
            <a:ext cx="228568" cy="109712"/>
          </a:xfrm>
          <a:prstGeom prst="rect">
            <a:avLst/>
          </a:prstGeom>
        </p:spPr>
      </p:pic>
      <p:sp>
        <p:nvSpPr>
          <p:cNvPr id="726" name="TextBox 725">
            <a:extLst>
              <a:ext uri="{FF2B5EF4-FFF2-40B4-BE49-F238E27FC236}">
                <a16:creationId xmlns:a16="http://schemas.microsoft.com/office/drawing/2014/main" id="{5F59A772-967F-4406-AF64-AB7035D601D7}"/>
              </a:ext>
            </a:extLst>
          </p:cNvPr>
          <p:cNvSpPr txBox="1"/>
          <p:nvPr/>
        </p:nvSpPr>
        <p:spPr>
          <a:xfrm>
            <a:off x="10119084" y="6635932"/>
            <a:ext cx="520158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4977">
              <a:lnSpc>
                <a:spcPct val="90000"/>
              </a:lnSpc>
              <a:defRPr sz="500">
                <a:latin typeface="Segoe UI" panose="020B0502040204020203" pitchFamily="34" charset="0"/>
              </a:defRPr>
            </a:lvl1pPr>
          </a:lstStyle>
          <a:p>
            <a:pPr marL="0" marR="0" lvl="0" indent="0" algn="ctr" defTabSz="2449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hlinkClick r:id="rId4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Kinect DK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pic>
        <p:nvPicPr>
          <p:cNvPr id="727" name="Picture 726">
            <a:extLst>
              <a:ext uri="{FF2B5EF4-FFF2-40B4-BE49-F238E27FC236}">
                <a16:creationId xmlns:a16="http://schemas.microsoft.com/office/drawing/2014/main" id="{B3FC4CBA-4D30-49CD-A328-7D868FCCA0A3}"/>
              </a:ext>
            </a:extLst>
          </p:cNvPr>
          <p:cNvPicPr>
            <a:picLocks noChangeAspect="1"/>
          </p:cNvPicPr>
          <p:nvPr/>
        </p:nvPicPr>
        <p:blipFill>
          <a:blip r:embed="rId415"/>
          <a:stretch>
            <a:fillRect/>
          </a:stretch>
        </p:blipFill>
        <p:spPr>
          <a:xfrm>
            <a:off x="11762935" y="2043141"/>
            <a:ext cx="201140" cy="201140"/>
          </a:xfrm>
          <a:prstGeom prst="rect">
            <a:avLst/>
          </a:prstGeom>
        </p:spPr>
      </p:pic>
      <p:sp>
        <p:nvSpPr>
          <p:cNvPr id="728" name="TextBox 727">
            <a:extLst>
              <a:ext uri="{FF2B5EF4-FFF2-40B4-BE49-F238E27FC236}">
                <a16:creationId xmlns:a16="http://schemas.microsoft.com/office/drawing/2014/main" id="{D6F1F829-37E0-44F9-BBB8-C72C8C87AF35}"/>
              </a:ext>
            </a:extLst>
          </p:cNvPr>
          <p:cNvSpPr txBox="1"/>
          <p:nvPr/>
        </p:nvSpPr>
        <p:spPr>
          <a:xfrm>
            <a:off x="11685097" y="2293933"/>
            <a:ext cx="3568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4940">
              <a:lnSpc>
                <a:spcPct val="90000"/>
              </a:lnSpc>
              <a:defRPr sz="500"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Data Shar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80D65D5-B4A0-4A82-B620-77A16F43C75B}"/>
              </a:ext>
            </a:extLst>
          </p:cNvPr>
          <p:cNvGrpSpPr/>
          <p:nvPr/>
        </p:nvGrpSpPr>
        <p:grpSpPr>
          <a:xfrm>
            <a:off x="10419570" y="291228"/>
            <a:ext cx="228144" cy="338804"/>
            <a:chOff x="10308267" y="291228"/>
            <a:chExt cx="228144" cy="338804"/>
          </a:xfrm>
        </p:grpSpPr>
        <p:pic>
          <p:nvPicPr>
            <p:cNvPr id="729" name="Picture 728">
              <a:extLst>
                <a:ext uri="{FF2B5EF4-FFF2-40B4-BE49-F238E27FC236}">
                  <a16:creationId xmlns:a16="http://schemas.microsoft.com/office/drawing/2014/main" id="{20E989B1-39EF-43C2-BA79-56290EACD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17"/>
            <a:stretch>
              <a:fillRect/>
            </a:stretch>
          </p:blipFill>
          <p:spPr>
            <a:xfrm>
              <a:off x="10341660" y="291228"/>
              <a:ext cx="161356" cy="161356"/>
            </a:xfrm>
            <a:prstGeom prst="rect">
              <a:avLst/>
            </a:prstGeom>
          </p:spPr>
        </p:pic>
        <p:sp>
          <p:nvSpPr>
            <p:cNvPr id="730" name="TextBox 729">
              <a:extLst>
                <a:ext uri="{FF2B5EF4-FFF2-40B4-BE49-F238E27FC236}">
                  <a16:creationId xmlns:a16="http://schemas.microsoft.com/office/drawing/2014/main" id="{D7EF4741-D56D-4536-90EF-3EBE1E4893F5}"/>
                </a:ext>
              </a:extLst>
            </p:cNvPr>
            <p:cNvSpPr txBox="1"/>
            <p:nvPr/>
          </p:nvSpPr>
          <p:spPr>
            <a:xfrm>
              <a:off x="10308267" y="491489"/>
              <a:ext cx="228144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stion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671148B-EDF8-4BBB-9D3A-63EAA2326E8E}"/>
              </a:ext>
            </a:extLst>
          </p:cNvPr>
          <p:cNvGrpSpPr/>
          <p:nvPr/>
        </p:nvGrpSpPr>
        <p:grpSpPr>
          <a:xfrm>
            <a:off x="10628677" y="291228"/>
            <a:ext cx="313749" cy="339738"/>
            <a:chOff x="10522494" y="291228"/>
            <a:chExt cx="313749" cy="339738"/>
          </a:xfrm>
        </p:grpSpPr>
        <p:pic>
          <p:nvPicPr>
            <p:cNvPr id="731" name="Picture 730">
              <a:extLst>
                <a:ext uri="{FF2B5EF4-FFF2-40B4-BE49-F238E27FC236}">
                  <a16:creationId xmlns:a16="http://schemas.microsoft.com/office/drawing/2014/main" id="{3AA97619-4E9A-44F4-B895-90DDE4AF2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19"/>
            <a:stretch>
              <a:fillRect/>
            </a:stretch>
          </p:blipFill>
          <p:spPr>
            <a:xfrm>
              <a:off x="10598691" y="291228"/>
              <a:ext cx="161356" cy="161356"/>
            </a:xfrm>
            <a:prstGeom prst="rect">
              <a:avLst/>
            </a:prstGeom>
          </p:spPr>
        </p:pic>
        <p:sp>
          <p:nvSpPr>
            <p:cNvPr id="732" name="TextBox 731">
              <a:extLst>
                <a:ext uri="{FF2B5EF4-FFF2-40B4-BE49-F238E27FC236}">
                  <a16:creationId xmlns:a16="http://schemas.microsoft.com/office/drawing/2014/main" id="{1B0EFAA0-E4EF-4958-8841-613C9F52BC01}"/>
                </a:ext>
              </a:extLst>
            </p:cNvPr>
            <p:cNvSpPr txBox="1"/>
            <p:nvPr/>
          </p:nvSpPr>
          <p:spPr>
            <a:xfrm>
              <a:off x="10522494" y="492423"/>
              <a:ext cx="313749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 App Firewall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DA4AD38-C535-4DD9-9535-671A2501D7BE}"/>
              </a:ext>
            </a:extLst>
          </p:cNvPr>
          <p:cNvGrpSpPr/>
          <p:nvPr/>
        </p:nvGrpSpPr>
        <p:grpSpPr>
          <a:xfrm>
            <a:off x="10923389" y="291228"/>
            <a:ext cx="331677" cy="339738"/>
            <a:chOff x="10812591" y="291228"/>
            <a:chExt cx="331677" cy="339738"/>
          </a:xfrm>
        </p:grpSpPr>
        <p:pic>
          <p:nvPicPr>
            <p:cNvPr id="733" name="Picture 732">
              <a:extLst>
                <a:ext uri="{FF2B5EF4-FFF2-40B4-BE49-F238E27FC236}">
                  <a16:creationId xmlns:a16="http://schemas.microsoft.com/office/drawing/2014/main" id="{F351D97C-D514-4AED-976D-19390F40A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21"/>
            <a:stretch>
              <a:fillRect/>
            </a:stretch>
          </p:blipFill>
          <p:spPr>
            <a:xfrm>
              <a:off x="10897752" y="291228"/>
              <a:ext cx="161356" cy="161356"/>
            </a:xfrm>
            <a:prstGeom prst="rect">
              <a:avLst/>
            </a:prstGeom>
          </p:spPr>
        </p:pic>
        <p:sp>
          <p:nvSpPr>
            <p:cNvPr id="734" name="TextBox 733">
              <a:extLst>
                <a:ext uri="{FF2B5EF4-FFF2-40B4-BE49-F238E27FC236}">
                  <a16:creationId xmlns:a16="http://schemas.microsoft.com/office/drawing/2014/main" id="{04D19F29-B3ED-40D4-8125-C3C43EC5482B}"/>
                </a:ext>
              </a:extLst>
            </p:cNvPr>
            <p:cNvSpPr txBox="1"/>
            <p:nvPr/>
          </p:nvSpPr>
          <p:spPr>
            <a:xfrm>
              <a:off x="10812591" y="492423"/>
              <a:ext cx="331677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Private Link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D56FB20-8B23-43E9-A459-9EE7B0D2D8F8}"/>
              </a:ext>
            </a:extLst>
          </p:cNvPr>
          <p:cNvGrpSpPr/>
          <p:nvPr/>
        </p:nvGrpSpPr>
        <p:grpSpPr>
          <a:xfrm>
            <a:off x="11236029" y="291228"/>
            <a:ext cx="246060" cy="339738"/>
            <a:chOff x="11140398" y="291228"/>
            <a:chExt cx="246060" cy="339738"/>
          </a:xfrm>
        </p:grpSpPr>
        <p:pic>
          <p:nvPicPr>
            <p:cNvPr id="752" name="Picture 751">
              <a:extLst>
                <a:ext uri="{FF2B5EF4-FFF2-40B4-BE49-F238E27FC236}">
                  <a16:creationId xmlns:a16="http://schemas.microsoft.com/office/drawing/2014/main" id="{ED940379-FCC1-4714-BF58-40CE00FEED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23"/>
            <a:stretch>
              <a:fillRect/>
            </a:stretch>
          </p:blipFill>
          <p:spPr>
            <a:xfrm>
              <a:off x="11182750" y="291228"/>
              <a:ext cx="161356" cy="161356"/>
            </a:xfrm>
            <a:prstGeom prst="rect">
              <a:avLst/>
            </a:prstGeom>
          </p:spPr>
        </p:pic>
        <p:sp>
          <p:nvSpPr>
            <p:cNvPr id="762" name="TextBox 761">
              <a:extLst>
                <a:ext uri="{FF2B5EF4-FFF2-40B4-BE49-F238E27FC236}">
                  <a16:creationId xmlns:a16="http://schemas.microsoft.com/office/drawing/2014/main" id="{5C3F3104-3B55-4E10-8902-95DBA72E435F}"/>
                </a:ext>
              </a:extLst>
            </p:cNvPr>
            <p:cNvSpPr txBox="1"/>
            <p:nvPr/>
          </p:nvSpPr>
          <p:spPr>
            <a:xfrm>
              <a:off x="11140398" y="492423"/>
              <a:ext cx="246060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eering Servic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336BEC8-EBCF-444F-A178-8E88104DEBC2}"/>
              </a:ext>
            </a:extLst>
          </p:cNvPr>
          <p:cNvGrpSpPr/>
          <p:nvPr/>
        </p:nvGrpSpPr>
        <p:grpSpPr>
          <a:xfrm>
            <a:off x="11463052" y="291228"/>
            <a:ext cx="264936" cy="409009"/>
            <a:chOff x="11420271" y="291228"/>
            <a:chExt cx="264936" cy="409009"/>
          </a:xfrm>
        </p:grpSpPr>
        <p:pic>
          <p:nvPicPr>
            <p:cNvPr id="763" name="Picture 762">
              <a:extLst>
                <a:ext uri="{FF2B5EF4-FFF2-40B4-BE49-F238E27FC236}">
                  <a16:creationId xmlns:a16="http://schemas.microsoft.com/office/drawing/2014/main" id="{ACA96268-CD3B-451D-9752-D6CDF3F74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25"/>
            <a:stretch>
              <a:fillRect/>
            </a:stretch>
          </p:blipFill>
          <p:spPr>
            <a:xfrm>
              <a:off x="11472060" y="291228"/>
              <a:ext cx="161356" cy="161356"/>
            </a:xfrm>
            <a:prstGeom prst="rect">
              <a:avLst/>
            </a:prstGeom>
          </p:spPr>
        </p:pic>
        <p:sp>
          <p:nvSpPr>
            <p:cNvPr id="788" name="TextBox 787">
              <a:extLst>
                <a:ext uri="{FF2B5EF4-FFF2-40B4-BE49-F238E27FC236}">
                  <a16:creationId xmlns:a16="http://schemas.microsoft.com/office/drawing/2014/main" id="{F87A3F27-58A8-401A-AAA8-F97E39933BD7}"/>
                </a:ext>
              </a:extLst>
            </p:cNvPr>
            <p:cNvSpPr txBox="1"/>
            <p:nvPr/>
          </p:nvSpPr>
          <p:spPr>
            <a:xfrm>
              <a:off x="11420271" y="492423"/>
              <a:ext cx="264936" cy="207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Firewall Manag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F2307E9-95F6-4687-8D84-C85AEED1538A}"/>
              </a:ext>
            </a:extLst>
          </p:cNvPr>
          <p:cNvGrpSpPr/>
          <p:nvPr/>
        </p:nvGrpSpPr>
        <p:grpSpPr>
          <a:xfrm>
            <a:off x="11708951" y="291228"/>
            <a:ext cx="247520" cy="409009"/>
            <a:chOff x="11737636" y="291228"/>
            <a:chExt cx="247520" cy="409009"/>
          </a:xfrm>
        </p:grpSpPr>
        <p:pic>
          <p:nvPicPr>
            <p:cNvPr id="789" name="Picture 788">
              <a:extLst>
                <a:ext uri="{FF2B5EF4-FFF2-40B4-BE49-F238E27FC236}">
                  <a16:creationId xmlns:a16="http://schemas.microsoft.com/office/drawing/2014/main" id="{164F021F-76EB-40AB-8EE4-4FF4D028A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7"/>
            <a:stretch>
              <a:fillRect/>
            </a:stretch>
          </p:blipFill>
          <p:spPr>
            <a:xfrm>
              <a:off x="11780717" y="291228"/>
              <a:ext cx="161356" cy="161356"/>
            </a:xfrm>
            <a:prstGeom prst="rect">
              <a:avLst/>
            </a:prstGeom>
          </p:spPr>
        </p:pic>
        <p:sp>
          <p:nvSpPr>
            <p:cNvPr id="790" name="TextBox 789">
              <a:extLst>
                <a:ext uri="{FF2B5EF4-FFF2-40B4-BE49-F238E27FC236}">
                  <a16:creationId xmlns:a16="http://schemas.microsoft.com/office/drawing/2014/main" id="{C1C5D9DF-5499-4653-973F-3A52C127CBDC}"/>
                </a:ext>
              </a:extLst>
            </p:cNvPr>
            <p:cNvSpPr txBox="1"/>
            <p:nvPr/>
          </p:nvSpPr>
          <p:spPr>
            <a:xfrm>
              <a:off x="11737636" y="492423"/>
              <a:ext cx="247520" cy="207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Internet Analyz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8186C56-208D-434D-8748-98F283B4D002}"/>
              </a:ext>
            </a:extLst>
          </p:cNvPr>
          <p:cNvGrpSpPr/>
          <p:nvPr/>
        </p:nvGrpSpPr>
        <p:grpSpPr>
          <a:xfrm>
            <a:off x="11355014" y="5818783"/>
            <a:ext cx="321293" cy="403716"/>
            <a:chOff x="11355014" y="5818783"/>
            <a:chExt cx="321293" cy="403716"/>
          </a:xfrm>
        </p:grpSpPr>
        <p:pic>
          <p:nvPicPr>
            <p:cNvPr id="791" name="Picture 790">
              <a:extLst>
                <a:ext uri="{FF2B5EF4-FFF2-40B4-BE49-F238E27FC236}">
                  <a16:creationId xmlns:a16="http://schemas.microsoft.com/office/drawing/2014/main" id="{99AFB978-85D0-475B-8B91-14E60B87A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95"/>
            <a:stretch>
              <a:fillRect/>
            </a:stretch>
          </p:blipFill>
          <p:spPr>
            <a:xfrm>
              <a:off x="11403607" y="5818783"/>
              <a:ext cx="224106" cy="189743"/>
            </a:xfrm>
            <a:prstGeom prst="rect">
              <a:avLst/>
            </a:prstGeom>
          </p:spPr>
        </p:pic>
        <p:sp>
          <p:nvSpPr>
            <p:cNvPr id="792" name="TextBox 791">
              <a:extLst>
                <a:ext uri="{FF2B5EF4-FFF2-40B4-BE49-F238E27FC236}">
                  <a16:creationId xmlns:a16="http://schemas.microsoft.com/office/drawing/2014/main" id="{740BE816-CC52-47E9-8A88-8A14219E143F}"/>
                </a:ext>
              </a:extLst>
            </p:cNvPr>
            <p:cNvSpPr txBox="1"/>
            <p:nvPr/>
          </p:nvSpPr>
          <p:spPr>
            <a:xfrm>
              <a:off x="11355014" y="6083956"/>
              <a:ext cx="321293" cy="1385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14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/>
                </a:defRPr>
              </a:lvl1pPr>
            </a:lstStyle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Lighthous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793" name="Picture 792">
            <a:extLst>
              <a:ext uri="{FF2B5EF4-FFF2-40B4-BE49-F238E27FC236}">
                <a16:creationId xmlns:a16="http://schemas.microsoft.com/office/drawing/2014/main" id="{567D52A2-D0E6-4AB2-ABBD-684465C33A55}"/>
              </a:ext>
            </a:extLst>
          </p:cNvPr>
          <p:cNvPicPr>
            <a:picLocks noChangeAspect="1"/>
          </p:cNvPicPr>
          <p:nvPr/>
        </p:nvPicPr>
        <p:blipFill>
          <a:blip r:embed="rId430"/>
          <a:stretch>
            <a:fillRect/>
          </a:stretch>
        </p:blipFill>
        <p:spPr>
          <a:xfrm>
            <a:off x="11806039" y="4133077"/>
            <a:ext cx="179285" cy="179285"/>
          </a:xfrm>
          <a:prstGeom prst="rect">
            <a:avLst/>
          </a:prstGeom>
        </p:spPr>
      </p:pic>
      <p:sp>
        <p:nvSpPr>
          <p:cNvPr id="794" name="TextBox 793">
            <a:extLst>
              <a:ext uri="{FF2B5EF4-FFF2-40B4-BE49-F238E27FC236}">
                <a16:creationId xmlns:a16="http://schemas.microsoft.com/office/drawing/2014/main" id="{78AC48B7-4643-497F-85DF-5DA91B92531A}"/>
              </a:ext>
            </a:extLst>
          </p:cNvPr>
          <p:cNvSpPr txBox="1"/>
          <p:nvPr/>
        </p:nvSpPr>
        <p:spPr>
          <a:xfrm>
            <a:off x="11787540" y="4382196"/>
            <a:ext cx="211404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9814">
              <a:lnSpc>
                <a:spcPct val="90000"/>
              </a:lnSpc>
              <a:defRPr sz="510">
                <a:solidFill>
                  <a:srgbClr val="000000"/>
                </a:solidFill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</a:t>
            </a:r>
          </a:p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ig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95" name="Picture 794">
            <a:extLst>
              <a:ext uri="{FF2B5EF4-FFF2-40B4-BE49-F238E27FC236}">
                <a16:creationId xmlns:a16="http://schemas.microsoft.com/office/drawing/2014/main" id="{6C9B9362-A1D0-4EF8-B034-CBF7BF993D08}"/>
              </a:ext>
            </a:extLst>
          </p:cNvPr>
          <p:cNvPicPr>
            <a:picLocks noChangeAspect="1"/>
          </p:cNvPicPr>
          <p:nvPr/>
        </p:nvPicPr>
        <p:blipFill>
          <a:blip r:embed="rId431"/>
          <a:stretch>
            <a:fillRect/>
          </a:stretch>
        </p:blipFill>
        <p:spPr>
          <a:xfrm>
            <a:off x="11706454" y="1489671"/>
            <a:ext cx="134464" cy="134464"/>
          </a:xfrm>
          <a:prstGeom prst="rect">
            <a:avLst/>
          </a:prstGeom>
        </p:spPr>
      </p:pic>
      <p:sp>
        <p:nvSpPr>
          <p:cNvPr id="796" name="TextBox 795">
            <a:extLst>
              <a:ext uri="{FF2B5EF4-FFF2-40B4-BE49-F238E27FC236}">
                <a16:creationId xmlns:a16="http://schemas.microsoft.com/office/drawing/2014/main" id="{01066A5F-D245-4FA1-9C91-BEA7359472C0}"/>
              </a:ext>
            </a:extLst>
          </p:cNvPr>
          <p:cNvSpPr txBox="1"/>
          <p:nvPr/>
        </p:nvSpPr>
        <p:spPr>
          <a:xfrm>
            <a:off x="11553317" y="1663779"/>
            <a:ext cx="440739" cy="13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9814">
              <a:lnSpc>
                <a:spcPct val="90000"/>
              </a:lnSpc>
              <a:defRPr sz="510">
                <a:solidFill>
                  <a:srgbClr val="000000"/>
                </a:solidFill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3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SQL Database Edge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98" name="Picture 797">
            <a:extLst>
              <a:ext uri="{FF2B5EF4-FFF2-40B4-BE49-F238E27FC236}">
                <a16:creationId xmlns:a16="http://schemas.microsoft.com/office/drawing/2014/main" id="{8C91BCA0-E07C-4F89-8663-ABF3CA51C024}"/>
              </a:ext>
            </a:extLst>
          </p:cNvPr>
          <p:cNvPicPr>
            <a:picLocks noChangeAspect="1"/>
          </p:cNvPicPr>
          <p:nvPr/>
        </p:nvPicPr>
        <p:blipFill>
          <a:blip r:embed="rId433"/>
          <a:stretch>
            <a:fillRect/>
          </a:stretch>
        </p:blipFill>
        <p:spPr>
          <a:xfrm>
            <a:off x="5959827" y="1446110"/>
            <a:ext cx="179285" cy="179285"/>
          </a:xfrm>
          <a:prstGeom prst="rect">
            <a:avLst/>
          </a:prstGeom>
        </p:spPr>
      </p:pic>
      <p:sp>
        <p:nvSpPr>
          <p:cNvPr id="799" name="TextBox 798">
            <a:extLst>
              <a:ext uri="{FF2B5EF4-FFF2-40B4-BE49-F238E27FC236}">
                <a16:creationId xmlns:a16="http://schemas.microsoft.com/office/drawing/2014/main" id="{4B8A069E-A4D3-4F69-A6C6-5A8694A5D848}"/>
              </a:ext>
            </a:extLst>
          </p:cNvPr>
          <p:cNvSpPr txBox="1"/>
          <p:nvPr/>
        </p:nvSpPr>
        <p:spPr>
          <a:xfrm>
            <a:off x="5772443" y="1667015"/>
            <a:ext cx="555423" cy="2078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9814">
              <a:lnSpc>
                <a:spcPct val="90000"/>
              </a:lnSpc>
              <a:defRPr sz="510">
                <a:solidFill>
                  <a:srgbClr val="000000"/>
                </a:solidFill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Synapse Analytics (formerly SQL DW)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0" name="Rectangle 799">
            <a:extLst>
              <a:ext uri="{FF2B5EF4-FFF2-40B4-BE49-F238E27FC236}">
                <a16:creationId xmlns:a16="http://schemas.microsoft.com/office/drawing/2014/main" id="{1C88CA6B-D0D5-46D3-8375-AE012BC246C8}"/>
              </a:ext>
            </a:extLst>
          </p:cNvPr>
          <p:cNvSpPr/>
          <p:nvPr/>
        </p:nvSpPr>
        <p:spPr bwMode="auto">
          <a:xfrm>
            <a:off x="10715336" y="6285637"/>
            <a:ext cx="649465" cy="575990"/>
          </a:xfrm>
          <a:prstGeom prst="rect">
            <a:avLst/>
          </a:prstGeom>
          <a:solidFill>
            <a:srgbClr val="243A5E"/>
          </a:solidFill>
          <a:ln w="63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7" tIns="17997" rIns="17997" bIns="179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497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rPr>
              <a:t>Windows Virtual Desktop</a:t>
            </a:r>
          </a:p>
        </p:txBody>
      </p:sp>
      <p:sp>
        <p:nvSpPr>
          <p:cNvPr id="801" name="Rectangle: Rounded Corners 800">
            <a:extLst>
              <a:ext uri="{FF2B5EF4-FFF2-40B4-BE49-F238E27FC236}">
                <a16:creationId xmlns:a16="http://schemas.microsoft.com/office/drawing/2014/main" id="{28536CFA-F09E-4A4D-B437-42D3EC2CA3DF}"/>
              </a:ext>
            </a:extLst>
          </p:cNvPr>
          <p:cNvSpPr/>
          <p:nvPr/>
        </p:nvSpPr>
        <p:spPr bwMode="auto">
          <a:xfrm>
            <a:off x="11414766" y="6626193"/>
            <a:ext cx="602110" cy="138543"/>
          </a:xfrm>
          <a:prstGeom prst="roundRect">
            <a:avLst>
              <a:gd name="adj" fmla="val 0"/>
            </a:avLst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3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s Virtual Desktop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02" name="Picture 801">
            <a:extLst>
              <a:ext uri="{FF2B5EF4-FFF2-40B4-BE49-F238E27FC236}">
                <a16:creationId xmlns:a16="http://schemas.microsoft.com/office/drawing/2014/main" id="{DBC7E4B9-133D-4CF7-8FC1-D8362E214469}"/>
              </a:ext>
            </a:extLst>
          </p:cNvPr>
          <p:cNvPicPr>
            <a:picLocks noChangeAspect="1"/>
          </p:cNvPicPr>
          <p:nvPr/>
        </p:nvPicPr>
        <p:blipFill>
          <a:blip r:embed="rId436"/>
          <a:stretch>
            <a:fillRect/>
          </a:stretch>
        </p:blipFill>
        <p:spPr>
          <a:xfrm>
            <a:off x="11599286" y="6362760"/>
            <a:ext cx="233070" cy="23307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4254CB7-E4C7-410C-8C7E-D426FB834DDA}"/>
              </a:ext>
            </a:extLst>
          </p:cNvPr>
          <p:cNvGrpSpPr/>
          <p:nvPr/>
        </p:nvGrpSpPr>
        <p:grpSpPr>
          <a:xfrm>
            <a:off x="1628720" y="6395662"/>
            <a:ext cx="347802" cy="352384"/>
            <a:chOff x="1462016" y="6395662"/>
            <a:chExt cx="347802" cy="352384"/>
          </a:xfrm>
        </p:grpSpPr>
        <p:sp>
          <p:nvSpPr>
            <p:cNvPr id="434" name="TextBox 433">
              <a:extLst>
                <a:ext uri="{FF2B5EF4-FFF2-40B4-BE49-F238E27FC236}">
                  <a16:creationId xmlns:a16="http://schemas.microsoft.com/office/drawing/2014/main" id="{66873DB7-6D82-497C-B5FC-A4BFCBE76EBF}"/>
                </a:ext>
              </a:extLst>
            </p:cNvPr>
            <p:cNvSpPr txBox="1"/>
            <p:nvPr/>
          </p:nvSpPr>
          <p:spPr>
            <a:xfrm>
              <a:off x="1462016" y="6609547"/>
              <a:ext cx="34780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tack 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dge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B475DD4-33F0-4BF1-9C06-32E30FEFC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38"/>
            <a:stretch>
              <a:fillRect/>
            </a:stretch>
          </p:blipFill>
          <p:spPr>
            <a:xfrm>
              <a:off x="1517045" y="6395662"/>
              <a:ext cx="237744" cy="15305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D6DE2D8-8232-40E5-B79B-68CC11638233}"/>
              </a:ext>
            </a:extLst>
          </p:cNvPr>
          <p:cNvGrpSpPr/>
          <p:nvPr/>
        </p:nvGrpSpPr>
        <p:grpSpPr>
          <a:xfrm>
            <a:off x="2100864" y="6358941"/>
            <a:ext cx="342364" cy="389105"/>
            <a:chOff x="1800251" y="6358941"/>
            <a:chExt cx="342364" cy="38910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FC7B7CD-F0E1-4D35-B925-F845EB160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39"/>
            <a:stretch>
              <a:fillRect/>
            </a:stretch>
          </p:blipFill>
          <p:spPr>
            <a:xfrm>
              <a:off x="1875421" y="6358941"/>
              <a:ext cx="192024" cy="192024"/>
            </a:xfrm>
            <a:prstGeom prst="rect">
              <a:avLst/>
            </a:prstGeom>
          </p:spPr>
        </p:pic>
        <p:sp>
          <p:nvSpPr>
            <p:cNvPr id="797" name="TextBox 796">
              <a:extLst>
                <a:ext uri="{FF2B5EF4-FFF2-40B4-BE49-F238E27FC236}">
                  <a16:creationId xmlns:a16="http://schemas.microsoft.com/office/drawing/2014/main" id="{A083FAE8-668F-403C-8D44-D6866B6A8CF5}"/>
                </a:ext>
              </a:extLst>
            </p:cNvPr>
            <p:cNvSpPr txBox="1"/>
            <p:nvPr/>
          </p:nvSpPr>
          <p:spPr>
            <a:xfrm>
              <a:off x="1800251" y="6609547"/>
              <a:ext cx="34236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tack Hub HCI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777B54-D275-4DF0-A51A-629C7E76091E}"/>
              </a:ext>
            </a:extLst>
          </p:cNvPr>
          <p:cNvGrpSpPr/>
          <p:nvPr/>
        </p:nvGrpSpPr>
        <p:grpSpPr>
          <a:xfrm>
            <a:off x="11776298" y="5276184"/>
            <a:ext cx="261325" cy="387846"/>
            <a:chOff x="11776298" y="5276184"/>
            <a:chExt cx="261325" cy="387846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E95A8FD-E59E-49B1-96F6-A7F244F752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41"/>
            <a:stretch>
              <a:fillRect/>
            </a:stretch>
          </p:blipFill>
          <p:spPr>
            <a:xfrm>
              <a:off x="11797232" y="5276184"/>
              <a:ext cx="219456" cy="151698"/>
            </a:xfrm>
            <a:prstGeom prst="rect">
              <a:avLst/>
            </a:prstGeom>
          </p:spPr>
        </p:pic>
        <p:sp>
          <p:nvSpPr>
            <p:cNvPr id="805" name="TextBox 804">
              <a:extLst>
                <a:ext uri="{FF2B5EF4-FFF2-40B4-BE49-F238E27FC236}">
                  <a16:creationId xmlns:a16="http://schemas.microsoft.com/office/drawing/2014/main" id="{E9E9DD43-310D-4F74-BC21-3B6C27DA36FF}"/>
                </a:ext>
              </a:extLst>
            </p:cNvPr>
            <p:cNvSpPr txBox="1"/>
            <p:nvPr/>
          </p:nvSpPr>
          <p:spPr>
            <a:xfrm>
              <a:off x="11776298" y="5525531"/>
              <a:ext cx="26132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oT Plug &amp; Play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73A83B8-7F88-422A-8BF8-7AC9306785C2}"/>
              </a:ext>
            </a:extLst>
          </p:cNvPr>
          <p:cNvGrpSpPr/>
          <p:nvPr/>
        </p:nvGrpSpPr>
        <p:grpSpPr>
          <a:xfrm>
            <a:off x="11937438" y="287992"/>
            <a:ext cx="247520" cy="342974"/>
            <a:chOff x="11991622" y="287992"/>
            <a:chExt cx="247520" cy="342974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E3C5448A-4750-4970-8DD5-4BAF6BB7D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43"/>
            <a:stretch>
              <a:fillRect/>
            </a:stretch>
          </p:blipFill>
          <p:spPr>
            <a:xfrm>
              <a:off x="12033086" y="287992"/>
              <a:ext cx="164592" cy="164592"/>
            </a:xfrm>
            <a:prstGeom prst="rect">
              <a:avLst/>
            </a:prstGeom>
          </p:spPr>
        </p:pic>
        <p:sp>
          <p:nvSpPr>
            <p:cNvPr id="806" name="TextBox 805">
              <a:extLst>
                <a:ext uri="{FF2B5EF4-FFF2-40B4-BE49-F238E27FC236}">
                  <a16:creationId xmlns:a16="http://schemas.microsoft.com/office/drawing/2014/main" id="{13E200AF-F0EA-4B91-9875-7AB5C5A30644}"/>
                </a:ext>
              </a:extLst>
            </p:cNvPr>
            <p:cNvSpPr txBox="1"/>
            <p:nvPr/>
          </p:nvSpPr>
          <p:spPr>
            <a:xfrm>
              <a:off x="11991622" y="492467"/>
              <a:ext cx="2475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</a:t>
              </a:r>
            </a:p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N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803" name="Group 802">
            <a:extLst>
              <a:ext uri="{FF2B5EF4-FFF2-40B4-BE49-F238E27FC236}">
                <a16:creationId xmlns:a16="http://schemas.microsoft.com/office/drawing/2014/main" id="{54B578BC-D494-4A73-BF85-5DCD45544296}"/>
              </a:ext>
            </a:extLst>
          </p:cNvPr>
          <p:cNvGrpSpPr/>
          <p:nvPr/>
        </p:nvGrpSpPr>
        <p:grpSpPr>
          <a:xfrm>
            <a:off x="11799052" y="5809233"/>
            <a:ext cx="321293" cy="343973"/>
            <a:chOff x="11799052" y="5809233"/>
            <a:chExt cx="321293" cy="343973"/>
          </a:xfrm>
        </p:grpSpPr>
        <p:sp>
          <p:nvSpPr>
            <p:cNvPr id="807" name="TextBox 806">
              <a:extLst>
                <a:ext uri="{FF2B5EF4-FFF2-40B4-BE49-F238E27FC236}">
                  <a16:creationId xmlns:a16="http://schemas.microsoft.com/office/drawing/2014/main" id="{7628172D-8F68-4838-95C2-9F8FFA717823}"/>
                </a:ext>
              </a:extLst>
            </p:cNvPr>
            <p:cNvSpPr txBox="1"/>
            <p:nvPr/>
          </p:nvSpPr>
          <p:spPr>
            <a:xfrm>
              <a:off x="11799052" y="6083956"/>
              <a:ext cx="321293" cy="6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14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/>
                </a:defRPr>
              </a:lvl1pPr>
            </a:lstStyle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rc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808" name="Picture 807">
              <a:extLst>
                <a:ext uri="{FF2B5EF4-FFF2-40B4-BE49-F238E27FC236}">
                  <a16:creationId xmlns:a16="http://schemas.microsoft.com/office/drawing/2014/main" id="{B0F64085-B779-4C93-B049-7741F59F99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46"/>
            <a:stretch>
              <a:fillRect/>
            </a:stretch>
          </p:blipFill>
          <p:spPr>
            <a:xfrm>
              <a:off x="11830519" y="5809233"/>
              <a:ext cx="258359" cy="192024"/>
            </a:xfrm>
            <a:prstGeom prst="rect">
              <a:avLst/>
            </a:prstGeom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4ACFFC48-A631-4A4D-91CA-06619150A882}"/>
              </a:ext>
            </a:extLst>
          </p:cNvPr>
          <p:cNvGrpSpPr/>
          <p:nvPr/>
        </p:nvGrpSpPr>
        <p:grpSpPr>
          <a:xfrm>
            <a:off x="11606516" y="3586039"/>
            <a:ext cx="320701" cy="382346"/>
            <a:chOff x="11606516" y="3586039"/>
            <a:chExt cx="320701" cy="382346"/>
          </a:xfrm>
        </p:grpSpPr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3B8690B7-C676-487D-929B-55DF867A6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47"/>
            <a:stretch>
              <a:fillRect/>
            </a:stretch>
          </p:blipFill>
          <p:spPr>
            <a:xfrm>
              <a:off x="11666282" y="3586039"/>
              <a:ext cx="201168" cy="201168"/>
            </a:xfrm>
            <a:prstGeom prst="rect">
              <a:avLst/>
            </a:prstGeom>
          </p:spPr>
        </p:pic>
        <p:sp>
          <p:nvSpPr>
            <p:cNvPr id="899" name="TextBox 898">
              <a:extLst>
                <a:ext uri="{FF2B5EF4-FFF2-40B4-BE49-F238E27FC236}">
                  <a16:creationId xmlns:a16="http://schemas.microsoft.com/office/drawing/2014/main" id="{96B2A642-062F-412E-83DA-CF2214709B54}"/>
                </a:ext>
              </a:extLst>
            </p:cNvPr>
            <p:cNvSpPr txBox="1"/>
            <p:nvPr/>
          </p:nvSpPr>
          <p:spPr>
            <a:xfrm>
              <a:off x="11606516" y="3829886"/>
              <a:ext cx="32070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3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orm Recognizer</a:t>
              </a: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3EFB48BF-8B59-4AEA-A8C7-5BEE15C753F5}"/>
              </a:ext>
            </a:extLst>
          </p:cNvPr>
          <p:cNvPicPr>
            <a:picLocks noChangeAspect="1"/>
          </p:cNvPicPr>
          <p:nvPr/>
        </p:nvPicPr>
        <p:blipFill>
          <a:blip r:embed="rId449"/>
          <a:stretch>
            <a:fillRect/>
          </a:stretch>
        </p:blipFill>
        <p:spPr>
          <a:xfrm>
            <a:off x="11702466" y="3140292"/>
            <a:ext cx="192024" cy="192024"/>
          </a:xfrm>
          <a:prstGeom prst="rect">
            <a:avLst/>
          </a:prstGeom>
        </p:spPr>
      </p:pic>
      <p:sp>
        <p:nvSpPr>
          <p:cNvPr id="804" name="TextBox 803">
            <a:extLst>
              <a:ext uri="{FF2B5EF4-FFF2-40B4-BE49-F238E27FC236}">
                <a16:creationId xmlns:a16="http://schemas.microsoft.com/office/drawing/2014/main" id="{C2A77B62-1F57-4495-9C20-BA461744016F}"/>
              </a:ext>
            </a:extLst>
          </p:cNvPr>
          <p:cNvSpPr txBox="1"/>
          <p:nvPr/>
        </p:nvSpPr>
        <p:spPr>
          <a:xfrm>
            <a:off x="11628584" y="3400140"/>
            <a:ext cx="339789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244930">
              <a:lnSpc>
                <a:spcPct val="90000"/>
              </a:lnSpc>
              <a:defRPr/>
            </a:pPr>
            <a:r>
              <a:rPr lang="en-US" sz="500">
                <a:solidFill>
                  <a:srgbClr val="000000"/>
                </a:solidFill>
                <a:latin typeface="Segoe UI" panose="020B0502040204020203" pitchFamily="34" charset="0"/>
                <a:hlinkClick r:id="rId45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rsonalizer</a:t>
            </a:r>
            <a:endParaRPr lang="en-US" sz="5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94DE736-6D0B-4A74-B8A6-9F8F4F44CEBC}"/>
              </a:ext>
            </a:extLst>
          </p:cNvPr>
          <p:cNvSpPr txBox="1"/>
          <p:nvPr/>
        </p:nvSpPr>
        <p:spPr>
          <a:xfrm>
            <a:off x="11147826" y="65934"/>
            <a:ext cx="95058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700">
                <a:solidFill>
                  <a:schemeClr val="bg1">
                    <a:lumMod val="95000"/>
                  </a:schemeClr>
                </a:solidFill>
                <a:hlinkClick r:id="rId45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adyh@microsoft.com </a:t>
            </a:r>
            <a:endParaRPr lang="en-US" sz="70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7BC35991-01FF-47D0-8072-E7C0A1D58CE0}"/>
              </a:ext>
            </a:extLst>
          </p:cNvPr>
          <p:cNvPicPr>
            <a:picLocks noChangeAspect="1"/>
          </p:cNvPicPr>
          <p:nvPr/>
        </p:nvPicPr>
        <p:blipFill>
          <a:blip r:embed="rId433"/>
          <a:stretch>
            <a:fillRect/>
          </a:stretch>
        </p:blipFill>
        <p:spPr>
          <a:xfrm>
            <a:off x="5422984" y="2024238"/>
            <a:ext cx="179285" cy="179285"/>
          </a:xfrm>
          <a:prstGeom prst="rect">
            <a:avLst/>
          </a:prstGeom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E777C349-127B-4A9E-870C-4A4E21648A17}"/>
              </a:ext>
            </a:extLst>
          </p:cNvPr>
          <p:cNvSpPr txBox="1"/>
          <p:nvPr/>
        </p:nvSpPr>
        <p:spPr>
          <a:xfrm>
            <a:off x="5235600" y="2245143"/>
            <a:ext cx="555423" cy="2078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249814">
              <a:lnSpc>
                <a:spcPct val="90000"/>
              </a:lnSpc>
              <a:defRPr sz="510">
                <a:solidFill>
                  <a:srgbClr val="000000"/>
                </a:solidFill>
                <a:latin typeface="Segoe UI"/>
              </a:defRPr>
            </a:lvl1pPr>
          </a:lstStyle>
          <a:p>
            <a:pPr marL="0" marR="0" lvl="0" indent="0" algn="ctr" defTabSz="2448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4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zure Synapse Analytics (formerly SQL DW)</a:t>
            </a: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9909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Rectangle 255">
            <a:extLst>
              <a:ext uri="{FF2B5EF4-FFF2-40B4-BE49-F238E27FC236}">
                <a16:creationId xmlns:a16="http://schemas.microsoft.com/office/drawing/2014/main" id="{A980D6AA-6720-4D79-91D0-85D5C37EE87B}"/>
              </a:ext>
            </a:extLst>
          </p:cNvPr>
          <p:cNvSpPr/>
          <p:nvPr/>
        </p:nvSpPr>
        <p:spPr bwMode="auto">
          <a:xfrm>
            <a:off x="0" y="-1"/>
            <a:ext cx="12192000" cy="171420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2CE417-F6FA-40E5-A268-54A7E3687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2CE417-F6FA-40E5-A268-54A7E3687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3" name="Rectangle: Rounded Corners 402">
            <a:extLst>
              <a:ext uri="{FF2B5EF4-FFF2-40B4-BE49-F238E27FC236}">
                <a16:creationId xmlns:a16="http://schemas.microsoft.com/office/drawing/2014/main" id="{08226705-C814-4DD1-9079-A0DC875C4E04}"/>
              </a:ext>
            </a:extLst>
          </p:cNvPr>
          <p:cNvSpPr/>
          <p:nvPr/>
        </p:nvSpPr>
        <p:spPr bwMode="auto">
          <a:xfrm>
            <a:off x="126586" y="-451796"/>
            <a:ext cx="11452666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2666" h="7046159">
                <a:moveTo>
                  <a:pt x="11452666" y="7046159"/>
                </a:moveTo>
                <a:lnTo>
                  <a:pt x="319061" y="7046159"/>
                </a:ln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51" name="Graphic 250">
            <a:extLst>
              <a:ext uri="{FF2B5EF4-FFF2-40B4-BE49-F238E27FC236}">
                <a16:creationId xmlns:a16="http://schemas.microsoft.com/office/drawing/2014/main" id="{5F690B20-EA2A-4C35-8199-65A69E933B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8805" y="853098"/>
            <a:ext cx="792017" cy="792018"/>
          </a:xfrm>
          <a:prstGeom prst="rect">
            <a:avLst/>
          </a:prstGeom>
        </p:spPr>
      </p:pic>
      <p:pic>
        <p:nvPicPr>
          <p:cNvPr id="252" name="Graphic 251">
            <a:extLst>
              <a:ext uri="{FF2B5EF4-FFF2-40B4-BE49-F238E27FC236}">
                <a16:creationId xmlns:a16="http://schemas.microsoft.com/office/drawing/2014/main" id="{813D990E-92D4-436C-9C23-C2EC5087DE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42817" y="175879"/>
            <a:ext cx="792017" cy="79201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81CBCCF-5B6F-4AF0-926D-6895669714F1}"/>
              </a:ext>
            </a:extLst>
          </p:cNvPr>
          <p:cNvGrpSpPr/>
          <p:nvPr/>
        </p:nvGrpSpPr>
        <p:grpSpPr>
          <a:xfrm>
            <a:off x="304975" y="4764864"/>
            <a:ext cx="11883535" cy="655389"/>
            <a:chOff x="304975" y="4764864"/>
            <a:chExt cx="11883535" cy="655389"/>
          </a:xfrm>
        </p:grpSpPr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5449FDAE-5EB2-458B-A281-163FC0089A2B}"/>
                </a:ext>
              </a:extLst>
            </p:cNvPr>
            <p:cNvSpPr/>
            <p:nvPr/>
          </p:nvSpPr>
          <p:spPr bwMode="auto">
            <a:xfrm flipH="1">
              <a:off x="1398590" y="4764864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9C5D7C2B-3B34-4351-AE4E-C1F60AB2571E}"/>
                </a:ext>
              </a:extLst>
            </p:cNvPr>
            <p:cNvSpPr txBox="1"/>
            <p:nvPr/>
          </p:nvSpPr>
          <p:spPr>
            <a:xfrm>
              <a:off x="4659391" y="5172481"/>
              <a:ext cx="43922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Lak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e Gen2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4" name="Graphic 333">
              <a:extLst>
                <a:ext uri="{FF2B5EF4-FFF2-40B4-BE49-F238E27FC236}">
                  <a16:creationId xmlns:a16="http://schemas.microsoft.com/office/drawing/2014/main" id="{A5A28EBF-F54D-438F-8C61-4FC850E6B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793336" y="4928347"/>
              <a:ext cx="171335" cy="171335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52C86AC-1C26-4CED-82C4-C085C2E9F42A}"/>
                </a:ext>
              </a:extLst>
            </p:cNvPr>
            <p:cNvSpPr txBox="1"/>
            <p:nvPr/>
          </p:nvSpPr>
          <p:spPr>
            <a:xfrm>
              <a:off x="4034250" y="5172481"/>
              <a:ext cx="30617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sk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5" name="Graphic 334">
              <a:extLst>
                <a:ext uri="{FF2B5EF4-FFF2-40B4-BE49-F238E27FC236}">
                  <a16:creationId xmlns:a16="http://schemas.microsoft.com/office/drawing/2014/main" id="{05544021-C7C5-44EC-A1C1-6026C921A1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094297" y="4913601"/>
              <a:ext cx="186081" cy="186081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09E02E0-07CE-4F22-B81B-E100788356D3}"/>
                </a:ext>
              </a:extLst>
            </p:cNvPr>
            <p:cNvSpPr txBox="1"/>
            <p:nvPr/>
          </p:nvSpPr>
          <p:spPr>
            <a:xfrm>
              <a:off x="6925948" y="5172481"/>
              <a:ext cx="286938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ckup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6" name="Graphic 335">
              <a:extLst>
                <a:ext uri="{FF2B5EF4-FFF2-40B4-BE49-F238E27FC236}">
                  <a16:creationId xmlns:a16="http://schemas.microsoft.com/office/drawing/2014/main" id="{11472BB5-8F91-4C2C-8FA8-BBFA9A2823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982331" y="4925509"/>
              <a:ext cx="174173" cy="174173"/>
            </a:xfrm>
            <a:prstGeom prst="rect">
              <a:avLst/>
            </a:prstGeom>
          </p:spPr>
        </p:pic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25D4590-15F5-4582-BB8E-A6AD4BE1018D}"/>
                </a:ext>
              </a:extLst>
            </p:cNvPr>
            <p:cNvSpPr txBox="1"/>
            <p:nvPr/>
          </p:nvSpPr>
          <p:spPr>
            <a:xfrm>
              <a:off x="6175773" y="5172481"/>
              <a:ext cx="431208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Simpl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7" name="Graphic 336">
              <a:extLst>
                <a:ext uri="{FF2B5EF4-FFF2-40B4-BE49-F238E27FC236}">
                  <a16:creationId xmlns:a16="http://schemas.microsoft.com/office/drawing/2014/main" id="{8F5619B7-0D87-4941-8874-9601FD40C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310957" y="4938842"/>
              <a:ext cx="160840" cy="160840"/>
            </a:xfrm>
            <a:prstGeom prst="rect">
              <a:avLst/>
            </a:prstGeom>
          </p:spPr>
        </p:pic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9339AAA-2D8B-4B5D-ADF5-59CF72663EC7}"/>
                </a:ext>
              </a:extLst>
            </p:cNvPr>
            <p:cNvSpPr txBox="1"/>
            <p:nvPr/>
          </p:nvSpPr>
          <p:spPr>
            <a:xfrm>
              <a:off x="11382079" y="5172481"/>
              <a:ext cx="504946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App Fil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9" name="Graphic 338">
              <a:extLst>
                <a:ext uri="{FF2B5EF4-FFF2-40B4-BE49-F238E27FC236}">
                  <a16:creationId xmlns:a16="http://schemas.microsoft.com/office/drawing/2014/main" id="{A66BAE65-B813-4653-8F68-B46742D49B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1532126" y="4894830"/>
              <a:ext cx="204852" cy="204852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DACB421-AF2A-4857-BEF1-C94BE7AD5FBE}"/>
                </a:ext>
              </a:extLst>
            </p:cNvPr>
            <p:cNvSpPr txBox="1"/>
            <p:nvPr/>
          </p:nvSpPr>
          <p:spPr>
            <a:xfrm>
              <a:off x="7531853" y="5172481"/>
              <a:ext cx="35747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t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cove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2" name="Graphic 341">
              <a:extLst>
                <a:ext uri="{FF2B5EF4-FFF2-40B4-BE49-F238E27FC236}">
                  <a16:creationId xmlns:a16="http://schemas.microsoft.com/office/drawing/2014/main" id="{10C1AAEC-CA57-4E7D-9E4B-8FADB60B6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7626216" y="4930939"/>
              <a:ext cx="168744" cy="168743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986BDD9-3793-4685-8A7F-690BCEEED321}"/>
                </a:ext>
              </a:extLst>
            </p:cNvPr>
            <p:cNvSpPr txBox="1"/>
            <p:nvPr/>
          </p:nvSpPr>
          <p:spPr>
            <a:xfrm>
              <a:off x="3409109" y="5172481"/>
              <a:ext cx="30617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l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54" name="Group 753">
              <a:extLst>
                <a:ext uri="{FF2B5EF4-FFF2-40B4-BE49-F238E27FC236}">
                  <a16:creationId xmlns:a16="http://schemas.microsoft.com/office/drawing/2014/main" id="{8CB1B321-68C9-45D7-A68C-021D6D719E75}"/>
                </a:ext>
              </a:extLst>
            </p:cNvPr>
            <p:cNvGrpSpPr/>
            <p:nvPr/>
          </p:nvGrpSpPr>
          <p:grpSpPr>
            <a:xfrm>
              <a:off x="3469156" y="4940024"/>
              <a:ext cx="186081" cy="159658"/>
              <a:chOff x="3633389" y="6179500"/>
              <a:chExt cx="274320" cy="235367"/>
            </a:xfrm>
          </p:grpSpPr>
          <p:sp>
            <p:nvSpPr>
              <p:cNvPr id="719" name="Freeform: Shape 718">
                <a:extLst>
                  <a:ext uri="{FF2B5EF4-FFF2-40B4-BE49-F238E27FC236}">
                    <a16:creationId xmlns:a16="http://schemas.microsoft.com/office/drawing/2014/main" id="{08AEED8D-EB50-4824-9212-7B158F3F63F7}"/>
                  </a:ext>
                </a:extLst>
              </p:cNvPr>
              <p:cNvSpPr/>
              <p:nvPr/>
            </p:nvSpPr>
            <p:spPr>
              <a:xfrm>
                <a:off x="3633389" y="6222843"/>
                <a:ext cx="274320" cy="192024"/>
              </a:xfrm>
              <a:custGeom>
                <a:avLst/>
                <a:gdLst>
                  <a:gd name="connsiteX0" fmla="*/ 0 w 274320"/>
                  <a:gd name="connsiteY0" fmla="*/ 181600 h 192024"/>
                  <a:gd name="connsiteX1" fmla="*/ 9876 w 274320"/>
                  <a:gd name="connsiteY1" fmla="*/ 192024 h 192024"/>
                  <a:gd name="connsiteX2" fmla="*/ 263896 w 274320"/>
                  <a:gd name="connsiteY2" fmla="*/ 192024 h 192024"/>
                  <a:gd name="connsiteX3" fmla="*/ 274320 w 274320"/>
                  <a:gd name="connsiteY3" fmla="*/ 181600 h 192024"/>
                  <a:gd name="connsiteX4" fmla="*/ 274320 w 274320"/>
                  <a:gd name="connsiteY4" fmla="*/ 0 h 192024"/>
                  <a:gd name="connsiteX5" fmla="*/ 0 w 274320"/>
                  <a:gd name="connsiteY5" fmla="*/ 0 h 192024"/>
                  <a:gd name="connsiteX6" fmla="*/ 0 w 274320"/>
                  <a:gd name="connsiteY6" fmla="*/ 181600 h 19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192024">
                    <a:moveTo>
                      <a:pt x="0" y="181600"/>
                    </a:moveTo>
                    <a:cubicBezTo>
                      <a:pt x="0" y="187086"/>
                      <a:pt x="4389" y="192024"/>
                      <a:pt x="9876" y="192024"/>
                    </a:cubicBezTo>
                    <a:lnTo>
                      <a:pt x="263896" y="192024"/>
                    </a:lnTo>
                    <a:cubicBezTo>
                      <a:pt x="269382" y="192024"/>
                      <a:pt x="274320" y="187635"/>
                      <a:pt x="274320" y="181600"/>
                    </a:cubicBezTo>
                    <a:lnTo>
                      <a:pt x="274320" y="0"/>
                    </a:lnTo>
                    <a:lnTo>
                      <a:pt x="0" y="0"/>
                    </a:lnTo>
                    <a:lnTo>
                      <a:pt x="0" y="181600"/>
                    </a:lnTo>
                    <a:close/>
                  </a:path>
                </a:pathLst>
              </a:custGeom>
              <a:solidFill>
                <a:srgbClr val="B3B4B5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0" name="Freeform: Shape 719">
                <a:extLst>
                  <a:ext uri="{FF2B5EF4-FFF2-40B4-BE49-F238E27FC236}">
                    <a16:creationId xmlns:a16="http://schemas.microsoft.com/office/drawing/2014/main" id="{86EB3C55-1ED8-41B3-88F4-5925D0B2FC04}"/>
                  </a:ext>
                </a:extLst>
              </p:cNvPr>
              <p:cNvSpPr/>
              <p:nvPr/>
            </p:nvSpPr>
            <p:spPr>
              <a:xfrm>
                <a:off x="3633389" y="6179500"/>
                <a:ext cx="274320" cy="38405"/>
              </a:xfrm>
              <a:custGeom>
                <a:avLst/>
                <a:gdLst>
                  <a:gd name="connsiteX0" fmla="*/ 263896 w 274320"/>
                  <a:gd name="connsiteY0" fmla="*/ 0 h 38404"/>
                  <a:gd name="connsiteX1" fmla="*/ 9876 w 274320"/>
                  <a:gd name="connsiteY1" fmla="*/ 0 h 38404"/>
                  <a:gd name="connsiteX2" fmla="*/ 0 w 274320"/>
                  <a:gd name="connsiteY2" fmla="*/ 10424 h 38404"/>
                  <a:gd name="connsiteX3" fmla="*/ 0 w 274320"/>
                  <a:gd name="connsiteY3" fmla="*/ 43343 h 38404"/>
                  <a:gd name="connsiteX4" fmla="*/ 274320 w 274320"/>
                  <a:gd name="connsiteY4" fmla="*/ 43343 h 38404"/>
                  <a:gd name="connsiteX5" fmla="*/ 274320 w 274320"/>
                  <a:gd name="connsiteY5" fmla="*/ 10424 h 38404"/>
                  <a:gd name="connsiteX6" fmla="*/ 263896 w 274320"/>
                  <a:gd name="connsiteY6" fmla="*/ 1646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38404">
                    <a:moveTo>
                      <a:pt x="263896" y="0"/>
                    </a:moveTo>
                    <a:lnTo>
                      <a:pt x="9876" y="0"/>
                    </a:lnTo>
                    <a:cubicBezTo>
                      <a:pt x="4389" y="0"/>
                      <a:pt x="0" y="4938"/>
                      <a:pt x="0" y="10424"/>
                    </a:cubicBezTo>
                    <a:lnTo>
                      <a:pt x="0" y="43343"/>
                    </a:lnTo>
                    <a:lnTo>
                      <a:pt x="274320" y="43343"/>
                    </a:lnTo>
                    <a:lnTo>
                      <a:pt x="274320" y="10424"/>
                    </a:lnTo>
                    <a:cubicBezTo>
                      <a:pt x="274320" y="4938"/>
                      <a:pt x="269931" y="1646"/>
                      <a:pt x="263896" y="1646"/>
                    </a:cubicBezTo>
                  </a:path>
                </a:pathLst>
              </a:custGeom>
              <a:solidFill>
                <a:srgbClr val="7A7A7A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1" name="Freeform: Shape 720">
                <a:extLst>
                  <a:ext uri="{FF2B5EF4-FFF2-40B4-BE49-F238E27FC236}">
                    <a16:creationId xmlns:a16="http://schemas.microsoft.com/office/drawing/2014/main" id="{F0891682-AE6E-4244-983D-7B35E42BAE53}"/>
                  </a:ext>
                </a:extLst>
              </p:cNvPr>
              <p:cNvSpPr/>
              <p:nvPr/>
            </p:nvSpPr>
            <p:spPr>
              <a:xfrm>
                <a:off x="3655335" y="6296909"/>
                <a:ext cx="230429" cy="38405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2" name="Freeform: Shape 721">
                <a:extLst>
                  <a:ext uri="{FF2B5EF4-FFF2-40B4-BE49-F238E27FC236}">
                    <a16:creationId xmlns:a16="http://schemas.microsoft.com/office/drawing/2014/main" id="{08F84530-B607-4F65-8544-37221338CEC0}"/>
                  </a:ext>
                </a:extLst>
              </p:cNvPr>
              <p:cNvSpPr/>
              <p:nvPr/>
            </p:nvSpPr>
            <p:spPr>
              <a:xfrm>
                <a:off x="3655335" y="6239302"/>
                <a:ext cx="230429" cy="38405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3" name="Freeform: Shape 722">
                <a:extLst>
                  <a:ext uri="{FF2B5EF4-FFF2-40B4-BE49-F238E27FC236}">
                    <a16:creationId xmlns:a16="http://schemas.microsoft.com/office/drawing/2014/main" id="{F12A54A8-E953-411B-A9B9-389543340C8B}"/>
                  </a:ext>
                </a:extLst>
              </p:cNvPr>
              <p:cNvSpPr/>
              <p:nvPr/>
            </p:nvSpPr>
            <p:spPr>
              <a:xfrm>
                <a:off x="3655335" y="6354516"/>
                <a:ext cx="230429" cy="38405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6A01DB51-65C2-48A5-820E-18C98605654D}"/>
                </a:ext>
              </a:extLst>
            </p:cNvPr>
            <p:cNvSpPr txBox="1"/>
            <p:nvPr/>
          </p:nvSpPr>
          <p:spPr>
            <a:xfrm>
              <a:off x="2783968" y="5172481"/>
              <a:ext cx="306174" cy="1938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914435">
                <a:lnSpc>
                  <a:spcPct val="90000"/>
                </a:lnSpc>
                <a:defRPr sz="1400">
                  <a:solidFill>
                    <a:schemeClr val="bg1"/>
                  </a:solidFill>
                  <a:latin typeface="Segoe UI" panose="020B0502040204020203" pitchFamily="34" charset="0"/>
                </a:defRPr>
              </a:lvl1pPr>
            </a:lstStyle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Queu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37" name="Group 736">
              <a:extLst>
                <a:ext uri="{FF2B5EF4-FFF2-40B4-BE49-F238E27FC236}">
                  <a16:creationId xmlns:a16="http://schemas.microsoft.com/office/drawing/2014/main" id="{AA566B5D-2ED3-49F8-B224-D292D8F8B9AC}"/>
                </a:ext>
              </a:extLst>
            </p:cNvPr>
            <p:cNvGrpSpPr/>
            <p:nvPr/>
          </p:nvGrpSpPr>
          <p:grpSpPr>
            <a:xfrm>
              <a:off x="2857462" y="4934588"/>
              <a:ext cx="159187" cy="165094"/>
              <a:chOff x="3011705" y="6027878"/>
              <a:chExt cx="292394" cy="303244"/>
            </a:xfrm>
          </p:grpSpPr>
          <p:sp>
            <p:nvSpPr>
              <p:cNvPr id="725" name="Freeform: Shape 724">
                <a:extLst>
                  <a:ext uri="{FF2B5EF4-FFF2-40B4-BE49-F238E27FC236}">
                    <a16:creationId xmlns:a16="http://schemas.microsoft.com/office/drawing/2014/main" id="{ED6014D3-B48E-460C-9AF7-A79D85CD7134}"/>
                  </a:ext>
                </a:extLst>
              </p:cNvPr>
              <p:cNvSpPr/>
              <p:nvPr/>
            </p:nvSpPr>
            <p:spPr>
              <a:xfrm>
                <a:off x="3011710" y="6074534"/>
                <a:ext cx="292389" cy="256588"/>
              </a:xfrm>
              <a:custGeom>
                <a:avLst/>
                <a:gdLst>
                  <a:gd name="connsiteX0" fmla="*/ 241402 w 268833"/>
                  <a:gd name="connsiteY0" fmla="*/ 235915 h 235915"/>
                  <a:gd name="connsiteX1" fmla="*/ 32918 w 268833"/>
                  <a:gd name="connsiteY1" fmla="*/ 235915 h 235915"/>
                  <a:gd name="connsiteX2" fmla="*/ 0 w 268833"/>
                  <a:gd name="connsiteY2" fmla="*/ 197510 h 235915"/>
                  <a:gd name="connsiteX3" fmla="*/ 0 w 268833"/>
                  <a:gd name="connsiteY3" fmla="*/ 0 h 235915"/>
                  <a:gd name="connsiteX4" fmla="*/ 268834 w 268833"/>
                  <a:gd name="connsiteY4" fmla="*/ 0 h 235915"/>
                  <a:gd name="connsiteX5" fmla="*/ 268834 w 268833"/>
                  <a:gd name="connsiteY5" fmla="*/ 202997 h 235915"/>
                  <a:gd name="connsiteX6" fmla="*/ 241402 w 268833"/>
                  <a:gd name="connsiteY6" fmla="*/ 235915 h 235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8833" h="235915">
                    <a:moveTo>
                      <a:pt x="241402" y="235915"/>
                    </a:moveTo>
                    <a:lnTo>
                      <a:pt x="32918" y="235915"/>
                    </a:lnTo>
                    <a:cubicBezTo>
                      <a:pt x="14736" y="235915"/>
                      <a:pt x="0" y="215692"/>
                      <a:pt x="0" y="197510"/>
                    </a:cubicBezTo>
                    <a:lnTo>
                      <a:pt x="0" y="0"/>
                    </a:lnTo>
                    <a:lnTo>
                      <a:pt x="268834" y="0"/>
                    </a:lnTo>
                    <a:lnTo>
                      <a:pt x="268834" y="202997"/>
                    </a:lnTo>
                    <a:cubicBezTo>
                      <a:pt x="268834" y="221179"/>
                      <a:pt x="259584" y="235915"/>
                      <a:pt x="241402" y="235915"/>
                    </a:cubicBezTo>
                    <a:close/>
                  </a:path>
                </a:pathLst>
              </a:custGeom>
              <a:solidFill>
                <a:srgbClr val="A0A1A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6" name="Freeform: Shape 725">
                <a:extLst>
                  <a:ext uri="{FF2B5EF4-FFF2-40B4-BE49-F238E27FC236}">
                    <a16:creationId xmlns:a16="http://schemas.microsoft.com/office/drawing/2014/main" id="{97EC3B96-B663-45D4-9156-7B3DF5E8253F}"/>
                  </a:ext>
                </a:extLst>
              </p:cNvPr>
              <p:cNvSpPr/>
              <p:nvPr/>
            </p:nvSpPr>
            <p:spPr>
              <a:xfrm>
                <a:off x="3125086" y="6074534"/>
                <a:ext cx="65638" cy="232720"/>
              </a:xfrm>
              <a:custGeom>
                <a:avLst/>
                <a:gdLst>
                  <a:gd name="connsiteX0" fmla="*/ 0 w 60350"/>
                  <a:gd name="connsiteY0" fmla="*/ 0 h 213969"/>
                  <a:gd name="connsiteX1" fmla="*/ 60350 w 60350"/>
                  <a:gd name="connsiteY1" fmla="*/ 0 h 213969"/>
                  <a:gd name="connsiteX2" fmla="*/ 60350 w 60350"/>
                  <a:gd name="connsiteY2" fmla="*/ 213970 h 213969"/>
                  <a:gd name="connsiteX3" fmla="*/ 0 w 60350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50" h="213969">
                    <a:moveTo>
                      <a:pt x="0" y="0"/>
                    </a:moveTo>
                    <a:lnTo>
                      <a:pt x="60350" y="0"/>
                    </a:lnTo>
                    <a:lnTo>
                      <a:pt x="60350" y="213970"/>
                    </a:lnTo>
                    <a:lnTo>
                      <a:pt x="0" y="213970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7" name="Freeform: Shape 726">
                <a:extLst>
                  <a:ext uri="{FF2B5EF4-FFF2-40B4-BE49-F238E27FC236}">
                    <a16:creationId xmlns:a16="http://schemas.microsoft.com/office/drawing/2014/main" id="{D1910A56-998E-40C5-B851-515317BB7970}"/>
                  </a:ext>
                </a:extLst>
              </p:cNvPr>
              <p:cNvSpPr/>
              <p:nvPr/>
            </p:nvSpPr>
            <p:spPr>
              <a:xfrm>
                <a:off x="3125086" y="6074534"/>
                <a:ext cx="65638" cy="232720"/>
              </a:xfrm>
              <a:custGeom>
                <a:avLst/>
                <a:gdLst>
                  <a:gd name="connsiteX0" fmla="*/ 0 w 60350"/>
                  <a:gd name="connsiteY0" fmla="*/ 0 h 213969"/>
                  <a:gd name="connsiteX1" fmla="*/ 60350 w 60350"/>
                  <a:gd name="connsiteY1" fmla="*/ 0 h 213969"/>
                  <a:gd name="connsiteX2" fmla="*/ 60350 w 60350"/>
                  <a:gd name="connsiteY2" fmla="*/ 213970 h 213969"/>
                  <a:gd name="connsiteX3" fmla="*/ 0 w 60350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50" h="213969">
                    <a:moveTo>
                      <a:pt x="0" y="0"/>
                    </a:moveTo>
                    <a:lnTo>
                      <a:pt x="60350" y="0"/>
                    </a:lnTo>
                    <a:lnTo>
                      <a:pt x="60350" y="213970"/>
                    </a:lnTo>
                    <a:lnTo>
                      <a:pt x="0" y="213970"/>
                    </a:lnTo>
                    <a:close/>
                  </a:path>
                </a:pathLst>
              </a:custGeom>
              <a:solidFill>
                <a:srgbClr val="804998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8" name="Freeform: Shape 727">
                <a:extLst>
                  <a:ext uri="{FF2B5EF4-FFF2-40B4-BE49-F238E27FC236}">
                    <a16:creationId xmlns:a16="http://schemas.microsoft.com/office/drawing/2014/main" id="{16F99898-C209-4854-8ACE-867F710D3848}"/>
                  </a:ext>
                </a:extLst>
              </p:cNvPr>
              <p:cNvSpPr/>
              <p:nvPr/>
            </p:nvSpPr>
            <p:spPr>
              <a:xfrm>
                <a:off x="3214592" y="6074534"/>
                <a:ext cx="65638" cy="232720"/>
              </a:xfrm>
              <a:custGeom>
                <a:avLst/>
                <a:gdLst>
                  <a:gd name="connsiteX0" fmla="*/ 0 w 60350"/>
                  <a:gd name="connsiteY0" fmla="*/ 0 h 213969"/>
                  <a:gd name="connsiteX1" fmla="*/ 60350 w 60350"/>
                  <a:gd name="connsiteY1" fmla="*/ 0 h 213969"/>
                  <a:gd name="connsiteX2" fmla="*/ 60350 w 60350"/>
                  <a:gd name="connsiteY2" fmla="*/ 213970 h 213969"/>
                  <a:gd name="connsiteX3" fmla="*/ 0 w 60350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50" h="213969">
                    <a:moveTo>
                      <a:pt x="0" y="0"/>
                    </a:moveTo>
                    <a:lnTo>
                      <a:pt x="60350" y="0"/>
                    </a:lnTo>
                    <a:lnTo>
                      <a:pt x="60350" y="213970"/>
                    </a:lnTo>
                    <a:lnTo>
                      <a:pt x="0" y="213970"/>
                    </a:lnTo>
                    <a:close/>
                  </a:path>
                </a:pathLst>
              </a:custGeom>
              <a:solidFill>
                <a:srgbClr val="804998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9" name="Freeform: Shape 728">
                <a:extLst>
                  <a:ext uri="{FF2B5EF4-FFF2-40B4-BE49-F238E27FC236}">
                    <a16:creationId xmlns:a16="http://schemas.microsoft.com/office/drawing/2014/main" id="{9A6E52C7-6781-4CCF-8903-69C8914C7880}"/>
                  </a:ext>
                </a:extLst>
              </p:cNvPr>
              <p:cNvSpPr/>
              <p:nvPr/>
            </p:nvSpPr>
            <p:spPr>
              <a:xfrm>
                <a:off x="3035579" y="6074534"/>
                <a:ext cx="65638" cy="232720"/>
              </a:xfrm>
              <a:custGeom>
                <a:avLst/>
                <a:gdLst>
                  <a:gd name="connsiteX0" fmla="*/ 0 w 60350"/>
                  <a:gd name="connsiteY0" fmla="*/ 0 h 213969"/>
                  <a:gd name="connsiteX1" fmla="*/ 60350 w 60350"/>
                  <a:gd name="connsiteY1" fmla="*/ 0 h 213969"/>
                  <a:gd name="connsiteX2" fmla="*/ 60350 w 60350"/>
                  <a:gd name="connsiteY2" fmla="*/ 213970 h 213969"/>
                  <a:gd name="connsiteX3" fmla="*/ 0 w 60350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50" h="213969">
                    <a:moveTo>
                      <a:pt x="0" y="0"/>
                    </a:moveTo>
                    <a:lnTo>
                      <a:pt x="60350" y="0"/>
                    </a:lnTo>
                    <a:lnTo>
                      <a:pt x="60350" y="213970"/>
                    </a:lnTo>
                    <a:lnTo>
                      <a:pt x="0" y="213970"/>
                    </a:lnTo>
                    <a:close/>
                  </a:path>
                </a:pathLst>
              </a:custGeom>
              <a:solidFill>
                <a:srgbClr val="804998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0" name="Freeform: Shape 729">
                <a:extLst>
                  <a:ext uri="{FF2B5EF4-FFF2-40B4-BE49-F238E27FC236}">
                    <a16:creationId xmlns:a16="http://schemas.microsoft.com/office/drawing/2014/main" id="{06D8FE2A-71F9-4B22-910F-183D6FDB301D}"/>
                  </a:ext>
                </a:extLst>
              </p:cNvPr>
              <p:cNvSpPr/>
              <p:nvPr/>
            </p:nvSpPr>
            <p:spPr>
              <a:xfrm>
                <a:off x="3125086" y="6074534"/>
                <a:ext cx="11934" cy="232720"/>
              </a:xfrm>
              <a:custGeom>
                <a:avLst/>
                <a:gdLst>
                  <a:gd name="connsiteX0" fmla="*/ 0 w 10972"/>
                  <a:gd name="connsiteY0" fmla="*/ 213970 h 213969"/>
                  <a:gd name="connsiteX1" fmla="*/ 0 w 10972"/>
                  <a:gd name="connsiteY1" fmla="*/ 0 h 213969"/>
                  <a:gd name="connsiteX2" fmla="*/ 10973 w 10972"/>
                  <a:gd name="connsiteY2" fmla="*/ 0 h 213969"/>
                  <a:gd name="connsiteX3" fmla="*/ 10973 w 10972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72" h="213969">
                    <a:moveTo>
                      <a:pt x="0" y="213970"/>
                    </a:moveTo>
                    <a:lnTo>
                      <a:pt x="0" y="0"/>
                    </a:lnTo>
                    <a:lnTo>
                      <a:pt x="10973" y="0"/>
                    </a:lnTo>
                    <a:lnTo>
                      <a:pt x="10973" y="213970"/>
                    </a:lnTo>
                    <a:close/>
                  </a:path>
                </a:pathLst>
              </a:custGeom>
              <a:solidFill>
                <a:srgbClr val="FFFFFF">
                  <a:alpha val="40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1" name="Freeform: Shape 730">
                <a:extLst>
                  <a:ext uri="{FF2B5EF4-FFF2-40B4-BE49-F238E27FC236}">
                    <a16:creationId xmlns:a16="http://schemas.microsoft.com/office/drawing/2014/main" id="{769F91AF-3E16-4604-80CC-3896CD2F50A4}"/>
                  </a:ext>
                </a:extLst>
              </p:cNvPr>
              <p:cNvSpPr/>
              <p:nvPr/>
            </p:nvSpPr>
            <p:spPr>
              <a:xfrm>
                <a:off x="3035579" y="6074534"/>
                <a:ext cx="11934" cy="232720"/>
              </a:xfrm>
              <a:custGeom>
                <a:avLst/>
                <a:gdLst>
                  <a:gd name="connsiteX0" fmla="*/ 0 w 10972"/>
                  <a:gd name="connsiteY0" fmla="*/ 213970 h 213969"/>
                  <a:gd name="connsiteX1" fmla="*/ 0 w 10972"/>
                  <a:gd name="connsiteY1" fmla="*/ 0 h 213969"/>
                  <a:gd name="connsiteX2" fmla="*/ 10973 w 10972"/>
                  <a:gd name="connsiteY2" fmla="*/ 0 h 213969"/>
                  <a:gd name="connsiteX3" fmla="*/ 10973 w 10972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72" h="213969">
                    <a:moveTo>
                      <a:pt x="0" y="213970"/>
                    </a:moveTo>
                    <a:lnTo>
                      <a:pt x="0" y="0"/>
                    </a:lnTo>
                    <a:lnTo>
                      <a:pt x="10973" y="0"/>
                    </a:lnTo>
                    <a:lnTo>
                      <a:pt x="10973" y="213970"/>
                    </a:lnTo>
                    <a:close/>
                  </a:path>
                </a:pathLst>
              </a:custGeom>
              <a:solidFill>
                <a:srgbClr val="FFFFFF">
                  <a:alpha val="40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2" name="Freeform: Shape 731">
                <a:extLst>
                  <a:ext uri="{FF2B5EF4-FFF2-40B4-BE49-F238E27FC236}">
                    <a16:creationId xmlns:a16="http://schemas.microsoft.com/office/drawing/2014/main" id="{4CEEE942-B548-46BC-B40C-A4E96DFF973A}"/>
                  </a:ext>
                </a:extLst>
              </p:cNvPr>
              <p:cNvSpPr/>
              <p:nvPr/>
            </p:nvSpPr>
            <p:spPr>
              <a:xfrm>
                <a:off x="3214592" y="6074534"/>
                <a:ext cx="11934" cy="232720"/>
              </a:xfrm>
              <a:custGeom>
                <a:avLst/>
                <a:gdLst>
                  <a:gd name="connsiteX0" fmla="*/ 0 w 10972"/>
                  <a:gd name="connsiteY0" fmla="*/ 213970 h 213969"/>
                  <a:gd name="connsiteX1" fmla="*/ 0 w 10972"/>
                  <a:gd name="connsiteY1" fmla="*/ 0 h 213969"/>
                  <a:gd name="connsiteX2" fmla="*/ 10973 w 10972"/>
                  <a:gd name="connsiteY2" fmla="*/ 0 h 213969"/>
                  <a:gd name="connsiteX3" fmla="*/ 10973 w 10972"/>
                  <a:gd name="connsiteY3" fmla="*/ 213970 h 21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72" h="213969">
                    <a:moveTo>
                      <a:pt x="0" y="213970"/>
                    </a:moveTo>
                    <a:lnTo>
                      <a:pt x="0" y="0"/>
                    </a:lnTo>
                    <a:lnTo>
                      <a:pt x="10973" y="0"/>
                    </a:lnTo>
                    <a:lnTo>
                      <a:pt x="10973" y="213970"/>
                    </a:ln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3" name="Freeform: Shape 732">
                <a:extLst>
                  <a:ext uri="{FF2B5EF4-FFF2-40B4-BE49-F238E27FC236}">
                    <a16:creationId xmlns:a16="http://schemas.microsoft.com/office/drawing/2014/main" id="{0CED0490-4BC0-483F-8D9A-F7B996410324}"/>
                  </a:ext>
                </a:extLst>
              </p:cNvPr>
              <p:cNvSpPr/>
              <p:nvPr/>
            </p:nvSpPr>
            <p:spPr>
              <a:xfrm>
                <a:off x="3011710" y="6074534"/>
                <a:ext cx="238685" cy="250621"/>
              </a:xfrm>
              <a:custGeom>
                <a:avLst/>
                <a:gdLst>
                  <a:gd name="connsiteX0" fmla="*/ 27070 w 219456"/>
                  <a:gd name="connsiteY0" fmla="*/ 235367 h 230428"/>
                  <a:gd name="connsiteX1" fmla="*/ 43891 w 219456"/>
                  <a:gd name="connsiteY1" fmla="*/ 235367 h 230428"/>
                  <a:gd name="connsiteX2" fmla="*/ 219456 w 219456"/>
                  <a:gd name="connsiteY2" fmla="*/ 0 h 230428"/>
                  <a:gd name="connsiteX3" fmla="*/ 0 w 219456"/>
                  <a:gd name="connsiteY3" fmla="*/ 0 h 230428"/>
                  <a:gd name="connsiteX4" fmla="*/ 0 w 219456"/>
                  <a:gd name="connsiteY4" fmla="*/ 197510 h 230428"/>
                  <a:gd name="connsiteX5" fmla="*/ 27070 w 219456"/>
                  <a:gd name="connsiteY5" fmla="*/ 235367 h 230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9456" h="230428">
                    <a:moveTo>
                      <a:pt x="27070" y="235367"/>
                    </a:moveTo>
                    <a:lnTo>
                      <a:pt x="43891" y="235367"/>
                    </a:lnTo>
                    <a:lnTo>
                      <a:pt x="219456" y="0"/>
                    </a:lnTo>
                    <a:lnTo>
                      <a:pt x="0" y="0"/>
                    </a:lnTo>
                    <a:lnTo>
                      <a:pt x="0" y="197510"/>
                    </a:lnTo>
                    <a:cubicBezTo>
                      <a:pt x="0" y="213690"/>
                      <a:pt x="11686" y="232601"/>
                      <a:pt x="27070" y="235367"/>
                    </a:cubicBezTo>
                    <a:close/>
                  </a:path>
                </a:pathLst>
              </a:custGeom>
              <a:solidFill>
                <a:srgbClr val="FFFFFF">
                  <a:alpha val="15000"/>
                </a:srgbClr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017C40B6-55D9-4B7F-98F1-A8F165D5222F}"/>
                  </a:ext>
                </a:extLst>
              </p:cNvPr>
              <p:cNvSpPr/>
              <p:nvPr/>
            </p:nvSpPr>
            <p:spPr>
              <a:xfrm>
                <a:off x="3011705" y="6027878"/>
                <a:ext cx="291976" cy="41770"/>
              </a:xfrm>
              <a:custGeom>
                <a:avLst/>
                <a:gdLst>
                  <a:gd name="connsiteX0" fmla="*/ 263896 w 274320"/>
                  <a:gd name="connsiteY0" fmla="*/ 0 h 38404"/>
                  <a:gd name="connsiteX1" fmla="*/ 9876 w 274320"/>
                  <a:gd name="connsiteY1" fmla="*/ 0 h 38404"/>
                  <a:gd name="connsiteX2" fmla="*/ 0 w 274320"/>
                  <a:gd name="connsiteY2" fmla="*/ 10424 h 38404"/>
                  <a:gd name="connsiteX3" fmla="*/ 0 w 274320"/>
                  <a:gd name="connsiteY3" fmla="*/ 43343 h 38404"/>
                  <a:gd name="connsiteX4" fmla="*/ 274320 w 274320"/>
                  <a:gd name="connsiteY4" fmla="*/ 43343 h 38404"/>
                  <a:gd name="connsiteX5" fmla="*/ 274320 w 274320"/>
                  <a:gd name="connsiteY5" fmla="*/ 10424 h 38404"/>
                  <a:gd name="connsiteX6" fmla="*/ 263896 w 274320"/>
                  <a:gd name="connsiteY6" fmla="*/ 1646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38404">
                    <a:moveTo>
                      <a:pt x="263896" y="0"/>
                    </a:moveTo>
                    <a:lnTo>
                      <a:pt x="9876" y="0"/>
                    </a:lnTo>
                    <a:cubicBezTo>
                      <a:pt x="4389" y="0"/>
                      <a:pt x="0" y="4938"/>
                      <a:pt x="0" y="10424"/>
                    </a:cubicBezTo>
                    <a:lnTo>
                      <a:pt x="0" y="43343"/>
                    </a:lnTo>
                    <a:lnTo>
                      <a:pt x="274320" y="43343"/>
                    </a:lnTo>
                    <a:lnTo>
                      <a:pt x="274320" y="10424"/>
                    </a:lnTo>
                    <a:cubicBezTo>
                      <a:pt x="274320" y="4938"/>
                      <a:pt x="269931" y="1646"/>
                      <a:pt x="263896" y="1646"/>
                    </a:cubicBezTo>
                  </a:path>
                </a:pathLst>
              </a:custGeom>
              <a:solidFill>
                <a:srgbClr val="959595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E0C0E3F7-377E-42DE-AD9A-4DD3DB99FDDE}"/>
                </a:ext>
              </a:extLst>
            </p:cNvPr>
            <p:cNvSpPr txBox="1"/>
            <p:nvPr/>
          </p:nvSpPr>
          <p:spPr>
            <a:xfrm>
              <a:off x="8208290" y="5172481"/>
              <a:ext cx="37350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d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sk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53" name="Group 752">
              <a:extLst>
                <a:ext uri="{FF2B5EF4-FFF2-40B4-BE49-F238E27FC236}">
                  <a16:creationId xmlns:a16="http://schemas.microsoft.com/office/drawing/2014/main" id="{72100C8C-807C-4696-B244-FF17351008A5}"/>
                </a:ext>
              </a:extLst>
            </p:cNvPr>
            <p:cNvGrpSpPr/>
            <p:nvPr/>
          </p:nvGrpSpPr>
          <p:grpSpPr>
            <a:xfrm>
              <a:off x="8310668" y="4959517"/>
              <a:ext cx="168745" cy="140165"/>
              <a:chOff x="7721210" y="5869251"/>
              <a:chExt cx="274320" cy="227859"/>
            </a:xfrm>
          </p:grpSpPr>
          <p:grpSp>
            <p:nvGrpSpPr>
              <p:cNvPr id="751" name="Group 750">
                <a:extLst>
                  <a:ext uri="{FF2B5EF4-FFF2-40B4-BE49-F238E27FC236}">
                    <a16:creationId xmlns:a16="http://schemas.microsoft.com/office/drawing/2014/main" id="{FF1D8969-4B89-4881-9F77-944C13304F47}"/>
                  </a:ext>
                </a:extLst>
              </p:cNvPr>
              <p:cNvGrpSpPr/>
              <p:nvPr/>
            </p:nvGrpSpPr>
            <p:grpSpPr>
              <a:xfrm>
                <a:off x="7721210" y="5976113"/>
                <a:ext cx="274320" cy="120997"/>
                <a:chOff x="7721210" y="5976113"/>
                <a:chExt cx="274320" cy="120997"/>
              </a:xfrm>
            </p:grpSpPr>
            <p:sp>
              <p:nvSpPr>
                <p:cNvPr id="744" name="Freeform: Shape 743">
                  <a:extLst>
                    <a:ext uri="{FF2B5EF4-FFF2-40B4-BE49-F238E27FC236}">
                      <a16:creationId xmlns:a16="http://schemas.microsoft.com/office/drawing/2014/main" id="{5D1F8FD2-8A44-42EF-B7E4-626B1CDE5676}"/>
                    </a:ext>
                  </a:extLst>
                </p:cNvPr>
                <p:cNvSpPr/>
                <p:nvPr/>
              </p:nvSpPr>
              <p:spPr>
                <a:xfrm>
                  <a:off x="7721210" y="6025787"/>
                  <a:ext cx="274320" cy="71323"/>
                </a:xfrm>
                <a:custGeom>
                  <a:avLst/>
                  <a:gdLst>
                    <a:gd name="connsiteX0" fmla="*/ 274320 w 274320"/>
                    <a:gd name="connsiteY0" fmla="*/ 26774 h 71323"/>
                    <a:gd name="connsiteX1" fmla="*/ 137160 w 274320"/>
                    <a:gd name="connsiteY1" fmla="*/ 76448 h 71323"/>
                    <a:gd name="connsiteX2" fmla="*/ 0 w 274320"/>
                    <a:gd name="connsiteY2" fmla="*/ 26774 h 71323"/>
                    <a:gd name="connsiteX3" fmla="*/ 0 w 274320"/>
                    <a:gd name="connsiteY3" fmla="*/ 0 h 71323"/>
                    <a:gd name="connsiteX4" fmla="*/ 274320 w 274320"/>
                    <a:gd name="connsiteY4" fmla="*/ 0 h 71323"/>
                    <a:gd name="connsiteX5" fmla="*/ 274320 w 274320"/>
                    <a:gd name="connsiteY5" fmla="*/ 26774 h 71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4320" h="71323">
                      <a:moveTo>
                        <a:pt x="274320" y="26774"/>
                      </a:moveTo>
                      <a:cubicBezTo>
                        <a:pt x="274320" y="54211"/>
                        <a:pt x="212905" y="76448"/>
                        <a:pt x="137160" y="76448"/>
                      </a:cubicBezTo>
                      <a:cubicBezTo>
                        <a:pt x="61415" y="76448"/>
                        <a:pt x="0" y="54206"/>
                        <a:pt x="0" y="26774"/>
                      </a:cubicBezTo>
                      <a:lnTo>
                        <a:pt x="0" y="0"/>
                      </a:lnTo>
                      <a:lnTo>
                        <a:pt x="274320" y="0"/>
                      </a:lnTo>
                      <a:lnTo>
                        <a:pt x="274320" y="26774"/>
                      </a:lnTo>
                      <a:close/>
                    </a:path>
                  </a:pathLst>
                </a:custGeom>
                <a:solidFill>
                  <a:srgbClr val="0072C6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5" name="Freeform: Shape 744">
                  <a:extLst>
                    <a:ext uri="{FF2B5EF4-FFF2-40B4-BE49-F238E27FC236}">
                      <a16:creationId xmlns:a16="http://schemas.microsoft.com/office/drawing/2014/main" id="{5A19B50B-1233-4703-9CD1-0B606322F9F1}"/>
                    </a:ext>
                  </a:extLst>
                </p:cNvPr>
                <p:cNvSpPr/>
                <p:nvPr/>
              </p:nvSpPr>
              <p:spPr>
                <a:xfrm>
                  <a:off x="7721210" y="5976113"/>
                  <a:ext cx="274320" cy="98755"/>
                </a:xfrm>
                <a:custGeom>
                  <a:avLst/>
                  <a:gdLst>
                    <a:gd name="connsiteX0" fmla="*/ 274320 w 274320"/>
                    <a:gd name="connsiteY0" fmla="*/ 49674 h 98755"/>
                    <a:gd name="connsiteX1" fmla="*/ 137160 w 274320"/>
                    <a:gd name="connsiteY1" fmla="*/ 99348 h 98755"/>
                    <a:gd name="connsiteX2" fmla="*/ 0 w 274320"/>
                    <a:gd name="connsiteY2" fmla="*/ 49674 h 98755"/>
                    <a:gd name="connsiteX3" fmla="*/ 137160 w 274320"/>
                    <a:gd name="connsiteY3" fmla="*/ 0 h 98755"/>
                    <a:gd name="connsiteX4" fmla="*/ 274320 w 274320"/>
                    <a:gd name="connsiteY4" fmla="*/ 49674 h 98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4320" h="98755">
                      <a:moveTo>
                        <a:pt x="274320" y="49674"/>
                      </a:moveTo>
                      <a:cubicBezTo>
                        <a:pt x="274320" y="77111"/>
                        <a:pt x="212905" y="99348"/>
                        <a:pt x="137160" y="99348"/>
                      </a:cubicBezTo>
                      <a:cubicBezTo>
                        <a:pt x="61415" y="99348"/>
                        <a:pt x="0" y="77106"/>
                        <a:pt x="0" y="49674"/>
                      </a:cubicBezTo>
                      <a:cubicBezTo>
                        <a:pt x="0" y="22242"/>
                        <a:pt x="61409" y="0"/>
                        <a:pt x="137160" y="0"/>
                      </a:cubicBezTo>
                      <a:cubicBezTo>
                        <a:pt x="212911" y="0"/>
                        <a:pt x="274320" y="22236"/>
                        <a:pt x="274320" y="49674"/>
                      </a:cubicBezTo>
                    </a:path>
                  </a:pathLst>
                </a:custGeom>
                <a:solidFill>
                  <a:srgbClr val="59B4D9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6" name="Freeform: Shape 745">
                  <a:extLst>
                    <a:ext uri="{FF2B5EF4-FFF2-40B4-BE49-F238E27FC236}">
                      <a16:creationId xmlns:a16="http://schemas.microsoft.com/office/drawing/2014/main" id="{3EC25171-25CA-4155-BC6B-67BC08A1E245}"/>
                    </a:ext>
                  </a:extLst>
                </p:cNvPr>
                <p:cNvSpPr/>
                <p:nvPr/>
              </p:nvSpPr>
              <p:spPr>
                <a:xfrm>
                  <a:off x="7814391" y="6009723"/>
                  <a:ext cx="87782" cy="21946"/>
                </a:xfrm>
                <a:custGeom>
                  <a:avLst/>
                  <a:gdLst>
                    <a:gd name="connsiteX0" fmla="*/ 87942 w 87782"/>
                    <a:gd name="connsiteY0" fmla="*/ 13206 h 21945"/>
                    <a:gd name="connsiteX1" fmla="*/ 43974 w 87782"/>
                    <a:gd name="connsiteY1" fmla="*/ 26412 h 21945"/>
                    <a:gd name="connsiteX2" fmla="*/ 0 w 87782"/>
                    <a:gd name="connsiteY2" fmla="*/ 13206 h 21945"/>
                    <a:gd name="connsiteX3" fmla="*/ 43974 w 87782"/>
                    <a:gd name="connsiteY3" fmla="*/ 0 h 21945"/>
                    <a:gd name="connsiteX4" fmla="*/ 87942 w 87782"/>
                    <a:gd name="connsiteY4" fmla="*/ 13206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782" h="21945">
                      <a:moveTo>
                        <a:pt x="87942" y="13206"/>
                      </a:moveTo>
                      <a:cubicBezTo>
                        <a:pt x="87942" y="20503"/>
                        <a:pt x="68256" y="26412"/>
                        <a:pt x="43974" y="26412"/>
                      </a:cubicBezTo>
                      <a:cubicBezTo>
                        <a:pt x="19691" y="26412"/>
                        <a:pt x="0" y="20503"/>
                        <a:pt x="0" y="13206"/>
                      </a:cubicBezTo>
                      <a:cubicBezTo>
                        <a:pt x="0" y="5909"/>
                        <a:pt x="19691" y="0"/>
                        <a:pt x="43974" y="0"/>
                      </a:cubicBezTo>
                      <a:cubicBezTo>
                        <a:pt x="68256" y="0"/>
                        <a:pt x="87942" y="5909"/>
                        <a:pt x="87942" y="13206"/>
                      </a:cubicBezTo>
                    </a:path>
                  </a:pathLst>
                </a:custGeom>
                <a:solidFill>
                  <a:srgbClr val="0072C6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7" name="Freeform: Shape 746">
                  <a:extLst>
                    <a:ext uri="{FF2B5EF4-FFF2-40B4-BE49-F238E27FC236}">
                      <a16:creationId xmlns:a16="http://schemas.microsoft.com/office/drawing/2014/main" id="{5FBB83BD-42A3-4A07-92E9-705F564DCBF8}"/>
                    </a:ext>
                  </a:extLst>
                </p:cNvPr>
                <p:cNvSpPr/>
                <p:nvPr/>
              </p:nvSpPr>
              <p:spPr>
                <a:xfrm>
                  <a:off x="7866863" y="5977035"/>
                  <a:ext cx="87782" cy="32918"/>
                </a:xfrm>
                <a:custGeom>
                  <a:avLst/>
                  <a:gdLst>
                    <a:gd name="connsiteX0" fmla="*/ 90652 w 87782"/>
                    <a:gd name="connsiteY0" fmla="*/ 14446 h 32918"/>
                    <a:gd name="connsiteX1" fmla="*/ 17798 w 87782"/>
                    <a:gd name="connsiteY1" fmla="*/ 0 h 32918"/>
                    <a:gd name="connsiteX2" fmla="*/ 0 w 87782"/>
                    <a:gd name="connsiteY2" fmla="*/ 32940 h 32918"/>
                    <a:gd name="connsiteX3" fmla="*/ 22642 w 87782"/>
                    <a:gd name="connsiteY3" fmla="*/ 36572 h 32918"/>
                    <a:gd name="connsiteX4" fmla="*/ 90652 w 87782"/>
                    <a:gd name="connsiteY4" fmla="*/ 14446 h 32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782" h="32918">
                      <a:moveTo>
                        <a:pt x="90652" y="14446"/>
                      </a:moveTo>
                      <a:cubicBezTo>
                        <a:pt x="71438" y="7165"/>
                        <a:pt x="46190" y="1997"/>
                        <a:pt x="17798" y="0"/>
                      </a:cubicBezTo>
                      <a:lnTo>
                        <a:pt x="0" y="32940"/>
                      </a:lnTo>
                      <a:cubicBezTo>
                        <a:pt x="8756" y="33456"/>
                        <a:pt x="16585" y="34745"/>
                        <a:pt x="22642" y="36572"/>
                      </a:cubicBezTo>
                      <a:lnTo>
                        <a:pt x="90652" y="14446"/>
                      </a:lnTo>
                      <a:close/>
                    </a:path>
                  </a:pathLst>
                </a:custGeom>
                <a:solidFill>
                  <a:srgbClr val="FFFFFF">
                    <a:alpha val="25000"/>
                  </a:srgbClr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8" name="Freeform: Shape 747">
                  <a:extLst>
                    <a:ext uri="{FF2B5EF4-FFF2-40B4-BE49-F238E27FC236}">
                      <a16:creationId xmlns:a16="http://schemas.microsoft.com/office/drawing/2014/main" id="{019B0DC9-2DAF-44E8-85EF-58B10DAD53FC}"/>
                    </a:ext>
                  </a:extLst>
                </p:cNvPr>
                <p:cNvSpPr/>
                <p:nvPr/>
              </p:nvSpPr>
              <p:spPr>
                <a:xfrm>
                  <a:off x="7753591" y="6032991"/>
                  <a:ext cx="98755" cy="38405"/>
                </a:xfrm>
                <a:custGeom>
                  <a:avLst/>
                  <a:gdLst>
                    <a:gd name="connsiteX0" fmla="*/ 0 w 98755"/>
                    <a:gd name="connsiteY0" fmla="*/ 24837 h 38404"/>
                    <a:gd name="connsiteX1" fmla="*/ 78390 w 98755"/>
                    <a:gd name="connsiteY1" fmla="*/ 41543 h 38404"/>
                    <a:gd name="connsiteX2" fmla="*/ 99200 w 98755"/>
                    <a:gd name="connsiteY2" fmla="*/ 3028 h 38404"/>
                    <a:gd name="connsiteX3" fmla="*/ 76332 w 98755"/>
                    <a:gd name="connsiteY3" fmla="*/ 0 h 38404"/>
                    <a:gd name="connsiteX4" fmla="*/ 0 w 98755"/>
                    <a:gd name="connsiteY4" fmla="*/ 24837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8755" h="38404">
                      <a:moveTo>
                        <a:pt x="0" y="24837"/>
                      </a:moveTo>
                      <a:cubicBezTo>
                        <a:pt x="19757" y="33302"/>
                        <a:pt x="47172" y="39337"/>
                        <a:pt x="78390" y="41543"/>
                      </a:cubicBezTo>
                      <a:lnTo>
                        <a:pt x="99200" y="3028"/>
                      </a:lnTo>
                      <a:cubicBezTo>
                        <a:pt x="90537" y="2699"/>
                        <a:pt x="82664" y="1618"/>
                        <a:pt x="76332" y="0"/>
                      </a:cubicBezTo>
                      <a:lnTo>
                        <a:pt x="0" y="24837"/>
                      </a:lnTo>
                      <a:close/>
                    </a:path>
                  </a:pathLst>
                </a:custGeom>
                <a:solidFill>
                  <a:srgbClr val="FFFFFF">
                    <a:alpha val="25000"/>
                  </a:srgbClr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2" name="Group 751">
                <a:extLst>
                  <a:ext uri="{FF2B5EF4-FFF2-40B4-BE49-F238E27FC236}">
                    <a16:creationId xmlns:a16="http://schemas.microsoft.com/office/drawing/2014/main" id="{F72C72A6-6180-48D1-8D5F-171406FEC1A2}"/>
                  </a:ext>
                </a:extLst>
              </p:cNvPr>
              <p:cNvGrpSpPr/>
              <p:nvPr/>
            </p:nvGrpSpPr>
            <p:grpSpPr>
              <a:xfrm>
                <a:off x="7721210" y="5869251"/>
                <a:ext cx="274320" cy="120996"/>
                <a:chOff x="7721210" y="5869251"/>
                <a:chExt cx="274320" cy="120996"/>
              </a:xfrm>
            </p:grpSpPr>
            <p:sp>
              <p:nvSpPr>
                <p:cNvPr id="739" name="Freeform: Shape 738">
                  <a:extLst>
                    <a:ext uri="{FF2B5EF4-FFF2-40B4-BE49-F238E27FC236}">
                      <a16:creationId xmlns:a16="http://schemas.microsoft.com/office/drawing/2014/main" id="{5EADA0D9-1456-4783-B4EB-7F472D60C066}"/>
                    </a:ext>
                  </a:extLst>
                </p:cNvPr>
                <p:cNvSpPr/>
                <p:nvPr/>
              </p:nvSpPr>
              <p:spPr>
                <a:xfrm>
                  <a:off x="7721210" y="5918924"/>
                  <a:ext cx="274320" cy="71323"/>
                </a:xfrm>
                <a:custGeom>
                  <a:avLst/>
                  <a:gdLst>
                    <a:gd name="connsiteX0" fmla="*/ 274320 w 274320"/>
                    <a:gd name="connsiteY0" fmla="*/ 26774 h 71323"/>
                    <a:gd name="connsiteX1" fmla="*/ 137160 w 274320"/>
                    <a:gd name="connsiteY1" fmla="*/ 76447 h 71323"/>
                    <a:gd name="connsiteX2" fmla="*/ 0 w 274320"/>
                    <a:gd name="connsiteY2" fmla="*/ 26774 h 71323"/>
                    <a:gd name="connsiteX3" fmla="*/ 0 w 274320"/>
                    <a:gd name="connsiteY3" fmla="*/ 0 h 71323"/>
                    <a:gd name="connsiteX4" fmla="*/ 274320 w 274320"/>
                    <a:gd name="connsiteY4" fmla="*/ 0 h 71323"/>
                    <a:gd name="connsiteX5" fmla="*/ 274320 w 274320"/>
                    <a:gd name="connsiteY5" fmla="*/ 26774 h 71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4320" h="71323">
                      <a:moveTo>
                        <a:pt x="274320" y="26774"/>
                      </a:moveTo>
                      <a:cubicBezTo>
                        <a:pt x="274320" y="54211"/>
                        <a:pt x="212905" y="76447"/>
                        <a:pt x="137160" y="76447"/>
                      </a:cubicBezTo>
                      <a:cubicBezTo>
                        <a:pt x="61415" y="76447"/>
                        <a:pt x="0" y="54211"/>
                        <a:pt x="0" y="26774"/>
                      </a:cubicBezTo>
                      <a:lnTo>
                        <a:pt x="0" y="0"/>
                      </a:lnTo>
                      <a:lnTo>
                        <a:pt x="274320" y="0"/>
                      </a:lnTo>
                      <a:lnTo>
                        <a:pt x="274320" y="26774"/>
                      </a:lnTo>
                      <a:close/>
                    </a:path>
                  </a:pathLst>
                </a:custGeom>
                <a:solidFill>
                  <a:srgbClr val="661F79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0" name="Freeform: Shape 739">
                  <a:extLst>
                    <a:ext uri="{FF2B5EF4-FFF2-40B4-BE49-F238E27FC236}">
                      <a16:creationId xmlns:a16="http://schemas.microsoft.com/office/drawing/2014/main" id="{5EBE1B60-E5BB-4E09-AA6B-413AA5F26E08}"/>
                    </a:ext>
                  </a:extLst>
                </p:cNvPr>
                <p:cNvSpPr/>
                <p:nvPr/>
              </p:nvSpPr>
              <p:spPr>
                <a:xfrm>
                  <a:off x="7721210" y="5869251"/>
                  <a:ext cx="274320" cy="98755"/>
                </a:xfrm>
                <a:custGeom>
                  <a:avLst/>
                  <a:gdLst>
                    <a:gd name="connsiteX0" fmla="*/ 274320 w 274320"/>
                    <a:gd name="connsiteY0" fmla="*/ 49674 h 98755"/>
                    <a:gd name="connsiteX1" fmla="*/ 137160 w 274320"/>
                    <a:gd name="connsiteY1" fmla="*/ 99348 h 98755"/>
                    <a:gd name="connsiteX2" fmla="*/ 0 w 274320"/>
                    <a:gd name="connsiteY2" fmla="*/ 49674 h 98755"/>
                    <a:gd name="connsiteX3" fmla="*/ 137160 w 274320"/>
                    <a:gd name="connsiteY3" fmla="*/ 0 h 98755"/>
                    <a:gd name="connsiteX4" fmla="*/ 274320 w 274320"/>
                    <a:gd name="connsiteY4" fmla="*/ 49674 h 987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4320" h="98755">
                      <a:moveTo>
                        <a:pt x="274320" y="49674"/>
                      </a:moveTo>
                      <a:cubicBezTo>
                        <a:pt x="274320" y="77111"/>
                        <a:pt x="212905" y="99348"/>
                        <a:pt x="137160" y="99348"/>
                      </a:cubicBezTo>
                      <a:cubicBezTo>
                        <a:pt x="61415" y="99348"/>
                        <a:pt x="0" y="77111"/>
                        <a:pt x="0" y="49674"/>
                      </a:cubicBezTo>
                      <a:cubicBezTo>
                        <a:pt x="0" y="22242"/>
                        <a:pt x="61409" y="0"/>
                        <a:pt x="137160" y="0"/>
                      </a:cubicBezTo>
                      <a:cubicBezTo>
                        <a:pt x="212911" y="0"/>
                        <a:pt x="274320" y="22242"/>
                        <a:pt x="274320" y="49674"/>
                      </a:cubicBezTo>
                    </a:path>
                  </a:pathLst>
                </a:custGeom>
                <a:solidFill>
                  <a:srgbClr val="9B4F96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1" name="Freeform: Shape 740">
                  <a:extLst>
                    <a:ext uri="{FF2B5EF4-FFF2-40B4-BE49-F238E27FC236}">
                      <a16:creationId xmlns:a16="http://schemas.microsoft.com/office/drawing/2014/main" id="{41EA1C2B-AE19-40B9-AEFB-90A0C8C399A5}"/>
                    </a:ext>
                  </a:extLst>
                </p:cNvPr>
                <p:cNvSpPr/>
                <p:nvPr/>
              </p:nvSpPr>
              <p:spPr>
                <a:xfrm>
                  <a:off x="7814391" y="5902860"/>
                  <a:ext cx="87782" cy="21946"/>
                </a:xfrm>
                <a:custGeom>
                  <a:avLst/>
                  <a:gdLst>
                    <a:gd name="connsiteX0" fmla="*/ 87942 w 87782"/>
                    <a:gd name="connsiteY0" fmla="*/ 13206 h 21945"/>
                    <a:gd name="connsiteX1" fmla="*/ 43974 w 87782"/>
                    <a:gd name="connsiteY1" fmla="*/ 26412 h 21945"/>
                    <a:gd name="connsiteX2" fmla="*/ 0 w 87782"/>
                    <a:gd name="connsiteY2" fmla="*/ 13206 h 21945"/>
                    <a:gd name="connsiteX3" fmla="*/ 43974 w 87782"/>
                    <a:gd name="connsiteY3" fmla="*/ 0 h 21945"/>
                    <a:gd name="connsiteX4" fmla="*/ 87942 w 87782"/>
                    <a:gd name="connsiteY4" fmla="*/ 13206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782" h="21945">
                      <a:moveTo>
                        <a:pt x="87942" y="13206"/>
                      </a:moveTo>
                      <a:cubicBezTo>
                        <a:pt x="87942" y="20503"/>
                        <a:pt x="68256" y="26412"/>
                        <a:pt x="43974" y="26412"/>
                      </a:cubicBezTo>
                      <a:cubicBezTo>
                        <a:pt x="19691" y="26412"/>
                        <a:pt x="0" y="20503"/>
                        <a:pt x="0" y="13206"/>
                      </a:cubicBezTo>
                      <a:cubicBezTo>
                        <a:pt x="0" y="5909"/>
                        <a:pt x="19691" y="0"/>
                        <a:pt x="43974" y="0"/>
                      </a:cubicBezTo>
                      <a:cubicBezTo>
                        <a:pt x="68256" y="0"/>
                        <a:pt x="87942" y="5914"/>
                        <a:pt x="87942" y="13206"/>
                      </a:cubicBezTo>
                    </a:path>
                  </a:pathLst>
                </a:custGeom>
                <a:solidFill>
                  <a:srgbClr val="68217A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2" name="Freeform: Shape 741">
                  <a:extLst>
                    <a:ext uri="{FF2B5EF4-FFF2-40B4-BE49-F238E27FC236}">
                      <a16:creationId xmlns:a16="http://schemas.microsoft.com/office/drawing/2014/main" id="{A95691C4-61A8-4D7E-A650-346FA3C5E62C}"/>
                    </a:ext>
                  </a:extLst>
                </p:cNvPr>
                <p:cNvSpPr/>
                <p:nvPr/>
              </p:nvSpPr>
              <p:spPr>
                <a:xfrm>
                  <a:off x="7866863" y="5870447"/>
                  <a:ext cx="87782" cy="32918"/>
                </a:xfrm>
                <a:custGeom>
                  <a:avLst/>
                  <a:gdLst>
                    <a:gd name="connsiteX0" fmla="*/ 90652 w 87782"/>
                    <a:gd name="connsiteY0" fmla="*/ 14446 h 32918"/>
                    <a:gd name="connsiteX1" fmla="*/ 17798 w 87782"/>
                    <a:gd name="connsiteY1" fmla="*/ 0 h 32918"/>
                    <a:gd name="connsiteX2" fmla="*/ 0 w 87782"/>
                    <a:gd name="connsiteY2" fmla="*/ 32940 h 32918"/>
                    <a:gd name="connsiteX3" fmla="*/ 22642 w 87782"/>
                    <a:gd name="connsiteY3" fmla="*/ 36572 h 32918"/>
                    <a:gd name="connsiteX4" fmla="*/ 90652 w 87782"/>
                    <a:gd name="connsiteY4" fmla="*/ 14446 h 32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782" h="32918">
                      <a:moveTo>
                        <a:pt x="90652" y="14446"/>
                      </a:moveTo>
                      <a:cubicBezTo>
                        <a:pt x="71438" y="7165"/>
                        <a:pt x="46190" y="1997"/>
                        <a:pt x="17798" y="0"/>
                      </a:cubicBezTo>
                      <a:lnTo>
                        <a:pt x="0" y="32940"/>
                      </a:lnTo>
                      <a:cubicBezTo>
                        <a:pt x="8756" y="33456"/>
                        <a:pt x="16585" y="34745"/>
                        <a:pt x="22642" y="36572"/>
                      </a:cubicBezTo>
                      <a:lnTo>
                        <a:pt x="90652" y="14446"/>
                      </a:lnTo>
                      <a:close/>
                    </a:path>
                  </a:pathLst>
                </a:custGeom>
                <a:solidFill>
                  <a:srgbClr val="FFFFFF">
                    <a:alpha val="25000"/>
                  </a:srgbClr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43" name="Freeform: Shape 742">
                  <a:extLst>
                    <a:ext uri="{FF2B5EF4-FFF2-40B4-BE49-F238E27FC236}">
                      <a16:creationId xmlns:a16="http://schemas.microsoft.com/office/drawing/2014/main" id="{6E3C1F27-90DD-44FD-8BF3-AD016F0A4ACC}"/>
                    </a:ext>
                  </a:extLst>
                </p:cNvPr>
                <p:cNvSpPr/>
                <p:nvPr/>
              </p:nvSpPr>
              <p:spPr>
                <a:xfrm>
                  <a:off x="7753591" y="5926402"/>
                  <a:ext cx="98755" cy="38405"/>
                </a:xfrm>
                <a:custGeom>
                  <a:avLst/>
                  <a:gdLst>
                    <a:gd name="connsiteX0" fmla="*/ 0 w 98755"/>
                    <a:gd name="connsiteY0" fmla="*/ 24837 h 38404"/>
                    <a:gd name="connsiteX1" fmla="*/ 78390 w 98755"/>
                    <a:gd name="connsiteY1" fmla="*/ 41543 h 38404"/>
                    <a:gd name="connsiteX2" fmla="*/ 99200 w 98755"/>
                    <a:gd name="connsiteY2" fmla="*/ 3029 h 38404"/>
                    <a:gd name="connsiteX3" fmla="*/ 76332 w 98755"/>
                    <a:gd name="connsiteY3" fmla="*/ 0 h 38404"/>
                    <a:gd name="connsiteX4" fmla="*/ 0 w 98755"/>
                    <a:gd name="connsiteY4" fmla="*/ 24837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8755" h="38404">
                      <a:moveTo>
                        <a:pt x="0" y="24837"/>
                      </a:moveTo>
                      <a:cubicBezTo>
                        <a:pt x="19757" y="33302"/>
                        <a:pt x="47172" y="39338"/>
                        <a:pt x="78390" y="41543"/>
                      </a:cubicBezTo>
                      <a:lnTo>
                        <a:pt x="99200" y="3029"/>
                      </a:lnTo>
                      <a:cubicBezTo>
                        <a:pt x="90537" y="2699"/>
                        <a:pt x="82664" y="1618"/>
                        <a:pt x="76332" y="0"/>
                      </a:cubicBezTo>
                      <a:lnTo>
                        <a:pt x="0" y="24837"/>
                      </a:lnTo>
                      <a:close/>
                    </a:path>
                  </a:pathLst>
                </a:custGeom>
                <a:solidFill>
                  <a:srgbClr val="FFFFFF">
                    <a:alpha val="25000"/>
                  </a:srgbClr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C636B0E1-E190-4987-A83C-82C831809ECC}"/>
                </a:ext>
              </a:extLst>
            </p:cNvPr>
            <p:cNvSpPr txBox="1"/>
            <p:nvPr/>
          </p:nvSpPr>
          <p:spPr>
            <a:xfrm>
              <a:off x="1533686" y="5172481"/>
              <a:ext cx="306174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5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60" name="Group 759">
              <a:extLst>
                <a:ext uri="{FF2B5EF4-FFF2-40B4-BE49-F238E27FC236}">
                  <a16:creationId xmlns:a16="http://schemas.microsoft.com/office/drawing/2014/main" id="{16696F32-9088-46E3-B77F-E9BF2C092C6D}"/>
                </a:ext>
              </a:extLst>
            </p:cNvPr>
            <p:cNvGrpSpPr/>
            <p:nvPr/>
          </p:nvGrpSpPr>
          <p:grpSpPr>
            <a:xfrm>
              <a:off x="1579442" y="4915501"/>
              <a:ext cx="214663" cy="184181"/>
              <a:chOff x="77767" y="5262140"/>
              <a:chExt cx="1481678" cy="1271288"/>
            </a:xfrm>
          </p:grpSpPr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BE622EB0-872D-43BD-A6B8-0CB5BCB6239A}"/>
                  </a:ext>
                </a:extLst>
              </p:cNvPr>
              <p:cNvSpPr/>
              <p:nvPr/>
            </p:nvSpPr>
            <p:spPr>
              <a:xfrm>
                <a:off x="77767" y="5496249"/>
                <a:ext cx="1481678" cy="1037179"/>
              </a:xfrm>
              <a:custGeom>
                <a:avLst/>
                <a:gdLst>
                  <a:gd name="connsiteX0" fmla="*/ 0 w 274320"/>
                  <a:gd name="connsiteY0" fmla="*/ 181600 h 192024"/>
                  <a:gd name="connsiteX1" fmla="*/ 9876 w 274320"/>
                  <a:gd name="connsiteY1" fmla="*/ 192024 h 192024"/>
                  <a:gd name="connsiteX2" fmla="*/ 263896 w 274320"/>
                  <a:gd name="connsiteY2" fmla="*/ 192024 h 192024"/>
                  <a:gd name="connsiteX3" fmla="*/ 274320 w 274320"/>
                  <a:gd name="connsiteY3" fmla="*/ 181600 h 192024"/>
                  <a:gd name="connsiteX4" fmla="*/ 274320 w 274320"/>
                  <a:gd name="connsiteY4" fmla="*/ 0 h 192024"/>
                  <a:gd name="connsiteX5" fmla="*/ 0 w 274320"/>
                  <a:gd name="connsiteY5" fmla="*/ 0 h 192024"/>
                  <a:gd name="connsiteX6" fmla="*/ 0 w 274320"/>
                  <a:gd name="connsiteY6" fmla="*/ 181600 h 19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192024">
                    <a:moveTo>
                      <a:pt x="0" y="181600"/>
                    </a:moveTo>
                    <a:cubicBezTo>
                      <a:pt x="0" y="187086"/>
                      <a:pt x="4389" y="192024"/>
                      <a:pt x="9876" y="192024"/>
                    </a:cubicBezTo>
                    <a:lnTo>
                      <a:pt x="263896" y="192024"/>
                    </a:lnTo>
                    <a:cubicBezTo>
                      <a:pt x="269382" y="192024"/>
                      <a:pt x="274320" y="187635"/>
                      <a:pt x="274320" y="181600"/>
                    </a:cubicBezTo>
                    <a:lnTo>
                      <a:pt x="274320" y="0"/>
                    </a:lnTo>
                    <a:lnTo>
                      <a:pt x="0" y="0"/>
                    </a:lnTo>
                    <a:lnTo>
                      <a:pt x="0" y="181600"/>
                    </a:lnTo>
                    <a:close/>
                  </a:path>
                </a:pathLst>
              </a:custGeom>
              <a:solidFill>
                <a:srgbClr val="B3B4B5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0CC34696-DA5E-4DC9-98CC-8E0C7B38C857}"/>
                  </a:ext>
                </a:extLst>
              </p:cNvPr>
              <p:cNvSpPr/>
              <p:nvPr/>
            </p:nvSpPr>
            <p:spPr>
              <a:xfrm>
                <a:off x="77767" y="5262140"/>
                <a:ext cx="1481678" cy="207437"/>
              </a:xfrm>
              <a:custGeom>
                <a:avLst/>
                <a:gdLst>
                  <a:gd name="connsiteX0" fmla="*/ 263896 w 274320"/>
                  <a:gd name="connsiteY0" fmla="*/ 0 h 38404"/>
                  <a:gd name="connsiteX1" fmla="*/ 9876 w 274320"/>
                  <a:gd name="connsiteY1" fmla="*/ 0 h 38404"/>
                  <a:gd name="connsiteX2" fmla="*/ 0 w 274320"/>
                  <a:gd name="connsiteY2" fmla="*/ 10424 h 38404"/>
                  <a:gd name="connsiteX3" fmla="*/ 0 w 274320"/>
                  <a:gd name="connsiteY3" fmla="*/ 43343 h 38404"/>
                  <a:gd name="connsiteX4" fmla="*/ 274320 w 274320"/>
                  <a:gd name="connsiteY4" fmla="*/ 43343 h 38404"/>
                  <a:gd name="connsiteX5" fmla="*/ 274320 w 274320"/>
                  <a:gd name="connsiteY5" fmla="*/ 10424 h 38404"/>
                  <a:gd name="connsiteX6" fmla="*/ 263896 w 274320"/>
                  <a:gd name="connsiteY6" fmla="*/ 1646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38404">
                    <a:moveTo>
                      <a:pt x="263896" y="0"/>
                    </a:moveTo>
                    <a:lnTo>
                      <a:pt x="9876" y="0"/>
                    </a:lnTo>
                    <a:cubicBezTo>
                      <a:pt x="4389" y="0"/>
                      <a:pt x="0" y="4938"/>
                      <a:pt x="0" y="10424"/>
                    </a:cubicBezTo>
                    <a:lnTo>
                      <a:pt x="0" y="43343"/>
                    </a:lnTo>
                    <a:lnTo>
                      <a:pt x="274320" y="43343"/>
                    </a:lnTo>
                    <a:lnTo>
                      <a:pt x="274320" y="10424"/>
                    </a:lnTo>
                    <a:cubicBezTo>
                      <a:pt x="274320" y="4938"/>
                      <a:pt x="269931" y="1646"/>
                      <a:pt x="263896" y="1646"/>
                    </a:cubicBezTo>
                  </a:path>
                </a:pathLst>
              </a:custGeom>
              <a:solidFill>
                <a:srgbClr val="7A7A7A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7E2FF9FB-2F03-4370-B3B6-978685910E58}"/>
                  </a:ext>
                </a:extLst>
              </p:cNvPr>
              <p:cNvSpPr/>
              <p:nvPr/>
            </p:nvSpPr>
            <p:spPr>
              <a:xfrm>
                <a:off x="200002" y="605970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6285130-EA63-45C9-B82D-7F494CC58A3F}"/>
                  </a:ext>
                </a:extLst>
              </p:cNvPr>
              <p:cNvSpPr/>
              <p:nvPr/>
            </p:nvSpPr>
            <p:spPr>
              <a:xfrm>
                <a:off x="200002" y="558613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69EE8C64-AD89-4F5C-98B5-03417246D840}"/>
                  </a:ext>
                </a:extLst>
              </p:cNvPr>
              <p:cNvSpPr/>
              <p:nvPr/>
            </p:nvSpPr>
            <p:spPr>
              <a:xfrm>
                <a:off x="200002" y="6296485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B8062A4F-05AA-44ED-8592-17C656F994FA}"/>
                  </a:ext>
                </a:extLst>
              </p:cNvPr>
              <p:cNvSpPr/>
              <p:nvPr/>
            </p:nvSpPr>
            <p:spPr>
              <a:xfrm>
                <a:off x="200002" y="5822916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09057568-62F3-48F9-A940-015B86218943}"/>
                  </a:ext>
                </a:extLst>
              </p:cNvPr>
              <p:cNvSpPr/>
              <p:nvPr/>
            </p:nvSpPr>
            <p:spPr>
              <a:xfrm>
                <a:off x="519089" y="605970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B48E4DBD-8F47-425A-982F-A1ED1843C5DF}"/>
                  </a:ext>
                </a:extLst>
              </p:cNvPr>
              <p:cNvSpPr/>
              <p:nvPr/>
            </p:nvSpPr>
            <p:spPr>
              <a:xfrm>
                <a:off x="519089" y="558613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8B11667E-6652-49B4-B731-370760D477D1}"/>
                  </a:ext>
                </a:extLst>
              </p:cNvPr>
              <p:cNvSpPr/>
              <p:nvPr/>
            </p:nvSpPr>
            <p:spPr>
              <a:xfrm>
                <a:off x="519089" y="6296485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59414A0C-FF78-484D-A900-9B1DACE6E267}"/>
                  </a:ext>
                </a:extLst>
              </p:cNvPr>
              <p:cNvSpPr/>
              <p:nvPr/>
            </p:nvSpPr>
            <p:spPr>
              <a:xfrm>
                <a:off x="519089" y="5822916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2DD60045-7209-430A-840D-45EEAC77D643}"/>
                  </a:ext>
                </a:extLst>
              </p:cNvPr>
              <p:cNvSpPr/>
              <p:nvPr/>
            </p:nvSpPr>
            <p:spPr>
              <a:xfrm>
                <a:off x="838176" y="605970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6E47752D-9E65-48E6-AAED-086A453A3D69}"/>
                  </a:ext>
                </a:extLst>
              </p:cNvPr>
              <p:cNvSpPr/>
              <p:nvPr/>
            </p:nvSpPr>
            <p:spPr>
              <a:xfrm>
                <a:off x="838176" y="558613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B79D4F15-E12F-410B-918C-C08139D395E3}"/>
                  </a:ext>
                </a:extLst>
              </p:cNvPr>
              <p:cNvSpPr/>
              <p:nvPr/>
            </p:nvSpPr>
            <p:spPr>
              <a:xfrm>
                <a:off x="838176" y="6296485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D5716F3C-B586-4222-B26C-9820B474D11F}"/>
                  </a:ext>
                </a:extLst>
              </p:cNvPr>
              <p:cNvSpPr/>
              <p:nvPr/>
            </p:nvSpPr>
            <p:spPr>
              <a:xfrm>
                <a:off x="838176" y="5822916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9F001D86-3F8A-46AB-936D-8EF04FEA6A4B}"/>
                  </a:ext>
                </a:extLst>
              </p:cNvPr>
              <p:cNvSpPr/>
              <p:nvPr/>
            </p:nvSpPr>
            <p:spPr>
              <a:xfrm>
                <a:off x="1157263" y="605970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8E23A470-0567-486A-96C3-4989EEEDB3D0}"/>
                  </a:ext>
                </a:extLst>
              </p:cNvPr>
              <p:cNvSpPr/>
              <p:nvPr/>
            </p:nvSpPr>
            <p:spPr>
              <a:xfrm>
                <a:off x="1157263" y="5586131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55C65BB8-7798-46E5-97B7-8CA49410C3C1}"/>
                  </a:ext>
                </a:extLst>
              </p:cNvPr>
              <p:cNvSpPr/>
              <p:nvPr/>
            </p:nvSpPr>
            <p:spPr>
              <a:xfrm>
                <a:off x="1157263" y="6296485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B8D432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10E001E5-DEB6-468C-8B9A-583376C21712}"/>
                  </a:ext>
                </a:extLst>
              </p:cNvPr>
              <p:cNvSpPr/>
              <p:nvPr/>
            </p:nvSpPr>
            <p:spPr>
              <a:xfrm>
                <a:off x="1157263" y="5822916"/>
                <a:ext cx="279947" cy="147061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729854B-7B67-4848-9A8F-CC13B5CC48BC}"/>
                </a:ext>
              </a:extLst>
            </p:cNvPr>
            <p:cNvSpPr txBox="1"/>
            <p:nvPr/>
          </p:nvSpPr>
          <p:spPr>
            <a:xfrm>
              <a:off x="5417582" y="5172481"/>
              <a:ext cx="43922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Lak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e Gen1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28" name="Graphic 427">
              <a:extLst>
                <a:ext uri="{FF2B5EF4-FFF2-40B4-BE49-F238E27FC236}">
                  <a16:creationId xmlns:a16="http://schemas.microsoft.com/office/drawing/2014/main" id="{84A9D6AA-26DC-42B7-9A04-451EE7B37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59401" y="4944095"/>
              <a:ext cx="155587" cy="155587"/>
            </a:xfrm>
            <a:prstGeom prst="rect">
              <a:avLst/>
            </a:prstGeom>
          </p:spPr>
        </p:pic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C7F5889D-850C-4066-AE96-C0D85881F8B8}"/>
                </a:ext>
              </a:extLst>
            </p:cNvPr>
            <p:cNvSpPr txBox="1"/>
            <p:nvPr/>
          </p:nvSpPr>
          <p:spPr>
            <a:xfrm>
              <a:off x="10115773" y="5172481"/>
              <a:ext cx="32220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plor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63" name="Group 762">
              <a:extLst>
                <a:ext uri="{FF2B5EF4-FFF2-40B4-BE49-F238E27FC236}">
                  <a16:creationId xmlns:a16="http://schemas.microsoft.com/office/drawing/2014/main" id="{B7E5104A-5B0E-4C2F-8A66-0C907ECF1C90}"/>
                </a:ext>
              </a:extLst>
            </p:cNvPr>
            <p:cNvGrpSpPr/>
            <p:nvPr/>
          </p:nvGrpSpPr>
          <p:grpSpPr>
            <a:xfrm>
              <a:off x="10181006" y="4935169"/>
              <a:ext cx="191739" cy="164513"/>
              <a:chOff x="8501429" y="5895514"/>
              <a:chExt cx="1386898" cy="1189960"/>
            </a:xfrm>
          </p:grpSpPr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A9BAAA5B-AB99-4CEA-B2E3-6087866CE62C}"/>
                  </a:ext>
                </a:extLst>
              </p:cNvPr>
              <p:cNvSpPr/>
              <p:nvPr/>
            </p:nvSpPr>
            <p:spPr>
              <a:xfrm>
                <a:off x="8501429" y="6114648"/>
                <a:ext cx="1386898" cy="970826"/>
              </a:xfrm>
              <a:custGeom>
                <a:avLst/>
                <a:gdLst>
                  <a:gd name="connsiteX0" fmla="*/ 0 w 274320"/>
                  <a:gd name="connsiteY0" fmla="*/ 181600 h 192024"/>
                  <a:gd name="connsiteX1" fmla="*/ 9876 w 274320"/>
                  <a:gd name="connsiteY1" fmla="*/ 192024 h 192024"/>
                  <a:gd name="connsiteX2" fmla="*/ 263896 w 274320"/>
                  <a:gd name="connsiteY2" fmla="*/ 192024 h 192024"/>
                  <a:gd name="connsiteX3" fmla="*/ 274320 w 274320"/>
                  <a:gd name="connsiteY3" fmla="*/ 181600 h 192024"/>
                  <a:gd name="connsiteX4" fmla="*/ 274320 w 274320"/>
                  <a:gd name="connsiteY4" fmla="*/ 0 h 192024"/>
                  <a:gd name="connsiteX5" fmla="*/ 0 w 274320"/>
                  <a:gd name="connsiteY5" fmla="*/ 0 h 192024"/>
                  <a:gd name="connsiteX6" fmla="*/ 0 w 274320"/>
                  <a:gd name="connsiteY6" fmla="*/ 181600 h 19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192024">
                    <a:moveTo>
                      <a:pt x="0" y="181600"/>
                    </a:moveTo>
                    <a:cubicBezTo>
                      <a:pt x="0" y="187086"/>
                      <a:pt x="4389" y="192024"/>
                      <a:pt x="9876" y="192024"/>
                    </a:cubicBezTo>
                    <a:lnTo>
                      <a:pt x="263896" y="192024"/>
                    </a:lnTo>
                    <a:cubicBezTo>
                      <a:pt x="269382" y="192024"/>
                      <a:pt x="274320" y="187635"/>
                      <a:pt x="274320" y="181600"/>
                    </a:cubicBezTo>
                    <a:lnTo>
                      <a:pt x="274320" y="0"/>
                    </a:lnTo>
                    <a:lnTo>
                      <a:pt x="0" y="0"/>
                    </a:lnTo>
                    <a:lnTo>
                      <a:pt x="0" y="181600"/>
                    </a:lnTo>
                    <a:close/>
                  </a:path>
                </a:pathLst>
              </a:custGeom>
              <a:solidFill>
                <a:srgbClr val="B3B4B5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C4F5A409-E6CD-4709-8F5C-9EB24C3279F4}"/>
                  </a:ext>
                </a:extLst>
              </p:cNvPr>
              <p:cNvSpPr/>
              <p:nvPr/>
            </p:nvSpPr>
            <p:spPr>
              <a:xfrm>
                <a:off x="8501429" y="5895514"/>
                <a:ext cx="1386898" cy="194165"/>
              </a:xfrm>
              <a:custGeom>
                <a:avLst/>
                <a:gdLst>
                  <a:gd name="connsiteX0" fmla="*/ 263896 w 274320"/>
                  <a:gd name="connsiteY0" fmla="*/ 0 h 38404"/>
                  <a:gd name="connsiteX1" fmla="*/ 9876 w 274320"/>
                  <a:gd name="connsiteY1" fmla="*/ 0 h 38404"/>
                  <a:gd name="connsiteX2" fmla="*/ 0 w 274320"/>
                  <a:gd name="connsiteY2" fmla="*/ 10424 h 38404"/>
                  <a:gd name="connsiteX3" fmla="*/ 0 w 274320"/>
                  <a:gd name="connsiteY3" fmla="*/ 43343 h 38404"/>
                  <a:gd name="connsiteX4" fmla="*/ 274320 w 274320"/>
                  <a:gd name="connsiteY4" fmla="*/ 43343 h 38404"/>
                  <a:gd name="connsiteX5" fmla="*/ 274320 w 274320"/>
                  <a:gd name="connsiteY5" fmla="*/ 10424 h 38404"/>
                  <a:gd name="connsiteX6" fmla="*/ 263896 w 274320"/>
                  <a:gd name="connsiteY6" fmla="*/ 1646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38404">
                    <a:moveTo>
                      <a:pt x="263896" y="0"/>
                    </a:moveTo>
                    <a:lnTo>
                      <a:pt x="9876" y="0"/>
                    </a:lnTo>
                    <a:cubicBezTo>
                      <a:pt x="4389" y="0"/>
                      <a:pt x="0" y="4938"/>
                      <a:pt x="0" y="10424"/>
                    </a:cubicBezTo>
                    <a:lnTo>
                      <a:pt x="0" y="43343"/>
                    </a:lnTo>
                    <a:lnTo>
                      <a:pt x="274320" y="43343"/>
                    </a:lnTo>
                    <a:lnTo>
                      <a:pt x="274320" y="10424"/>
                    </a:lnTo>
                    <a:cubicBezTo>
                      <a:pt x="274320" y="4938"/>
                      <a:pt x="269931" y="1646"/>
                      <a:pt x="263896" y="1646"/>
                    </a:cubicBezTo>
                  </a:path>
                </a:pathLst>
              </a:custGeom>
              <a:solidFill>
                <a:srgbClr val="7A7A7A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2C8794F4-01F5-4D8C-B923-CDC15EDCC298}"/>
                  </a:ext>
                </a:extLst>
              </p:cNvPr>
              <p:cNvSpPr/>
              <p:nvPr/>
            </p:nvSpPr>
            <p:spPr>
              <a:xfrm>
                <a:off x="8584114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A6D70822-D52A-4057-9C7E-22875CFD763A}"/>
                  </a:ext>
                </a:extLst>
              </p:cNvPr>
              <p:cNvSpPr/>
              <p:nvPr/>
            </p:nvSpPr>
            <p:spPr>
              <a:xfrm>
                <a:off x="8584114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E3D0ED9C-3966-498B-BD58-15CF8C9C9ABB}"/>
                  </a:ext>
                </a:extLst>
              </p:cNvPr>
              <p:cNvSpPr/>
              <p:nvPr/>
            </p:nvSpPr>
            <p:spPr>
              <a:xfrm>
                <a:off x="8584114" y="6480677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D7FAC26C-3D20-4B51-84B2-B97B8E52577C}"/>
                  </a:ext>
                </a:extLst>
              </p:cNvPr>
              <p:cNvSpPr/>
              <p:nvPr/>
            </p:nvSpPr>
            <p:spPr>
              <a:xfrm>
                <a:off x="9008648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1D9647DE-E447-4CAB-8523-CC76C8E98143}"/>
                  </a:ext>
                </a:extLst>
              </p:cNvPr>
              <p:cNvSpPr/>
              <p:nvPr/>
            </p:nvSpPr>
            <p:spPr>
              <a:xfrm>
                <a:off x="9008648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BF32AC42-4A5F-4F8A-B150-0C6DD5D59E98}"/>
                  </a:ext>
                </a:extLst>
              </p:cNvPr>
              <p:cNvSpPr/>
              <p:nvPr/>
            </p:nvSpPr>
            <p:spPr>
              <a:xfrm>
                <a:off x="9008648" y="6480677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1579F49F-56AC-4B95-BF2C-6CC45CE5D6F5}"/>
                  </a:ext>
                </a:extLst>
              </p:cNvPr>
              <p:cNvSpPr/>
              <p:nvPr/>
            </p:nvSpPr>
            <p:spPr>
              <a:xfrm>
                <a:off x="9433182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6A79A7FF-2699-442B-AA73-264145AC45C5}"/>
                  </a:ext>
                </a:extLst>
              </p:cNvPr>
              <p:cNvSpPr/>
              <p:nvPr/>
            </p:nvSpPr>
            <p:spPr>
              <a:xfrm>
                <a:off x="9433182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85326634-DF72-45F4-A891-B7BA5C6B4597}"/>
                  </a:ext>
                </a:extLst>
              </p:cNvPr>
              <p:cNvSpPr/>
              <p:nvPr/>
            </p:nvSpPr>
            <p:spPr>
              <a:xfrm>
                <a:off x="9433182" y="6480672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AC29AD42-AC9C-40D2-85F3-7FA630CBD40B}"/>
                </a:ext>
              </a:extLst>
            </p:cNvPr>
            <p:cNvSpPr txBox="1"/>
            <p:nvPr/>
          </p:nvSpPr>
          <p:spPr>
            <a:xfrm>
              <a:off x="10756944" y="5172481"/>
              <a:ext cx="30617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rch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462" name="Group 461">
              <a:extLst>
                <a:ext uri="{FF2B5EF4-FFF2-40B4-BE49-F238E27FC236}">
                  <a16:creationId xmlns:a16="http://schemas.microsoft.com/office/drawing/2014/main" id="{9503C417-CF0E-4290-AA1A-9214F17A08BA}"/>
                </a:ext>
              </a:extLst>
            </p:cNvPr>
            <p:cNvGrpSpPr/>
            <p:nvPr/>
          </p:nvGrpSpPr>
          <p:grpSpPr>
            <a:xfrm>
              <a:off x="10814162" y="4935169"/>
              <a:ext cx="191739" cy="164513"/>
              <a:chOff x="8501429" y="5895514"/>
              <a:chExt cx="1386898" cy="1189960"/>
            </a:xfrm>
          </p:grpSpPr>
          <p:sp>
            <p:nvSpPr>
              <p:cNvPr id="463" name="Freeform: Shape 462">
                <a:extLst>
                  <a:ext uri="{FF2B5EF4-FFF2-40B4-BE49-F238E27FC236}">
                    <a16:creationId xmlns:a16="http://schemas.microsoft.com/office/drawing/2014/main" id="{896A1DB4-2116-4C27-93B4-F28B63BBC254}"/>
                  </a:ext>
                </a:extLst>
              </p:cNvPr>
              <p:cNvSpPr/>
              <p:nvPr/>
            </p:nvSpPr>
            <p:spPr>
              <a:xfrm>
                <a:off x="8501429" y="6114648"/>
                <a:ext cx="1386898" cy="970826"/>
              </a:xfrm>
              <a:custGeom>
                <a:avLst/>
                <a:gdLst>
                  <a:gd name="connsiteX0" fmla="*/ 0 w 274320"/>
                  <a:gd name="connsiteY0" fmla="*/ 181600 h 192024"/>
                  <a:gd name="connsiteX1" fmla="*/ 9876 w 274320"/>
                  <a:gd name="connsiteY1" fmla="*/ 192024 h 192024"/>
                  <a:gd name="connsiteX2" fmla="*/ 263896 w 274320"/>
                  <a:gd name="connsiteY2" fmla="*/ 192024 h 192024"/>
                  <a:gd name="connsiteX3" fmla="*/ 274320 w 274320"/>
                  <a:gd name="connsiteY3" fmla="*/ 181600 h 192024"/>
                  <a:gd name="connsiteX4" fmla="*/ 274320 w 274320"/>
                  <a:gd name="connsiteY4" fmla="*/ 0 h 192024"/>
                  <a:gd name="connsiteX5" fmla="*/ 0 w 274320"/>
                  <a:gd name="connsiteY5" fmla="*/ 0 h 192024"/>
                  <a:gd name="connsiteX6" fmla="*/ 0 w 274320"/>
                  <a:gd name="connsiteY6" fmla="*/ 181600 h 192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192024">
                    <a:moveTo>
                      <a:pt x="0" y="181600"/>
                    </a:moveTo>
                    <a:cubicBezTo>
                      <a:pt x="0" y="187086"/>
                      <a:pt x="4389" y="192024"/>
                      <a:pt x="9876" y="192024"/>
                    </a:cubicBezTo>
                    <a:lnTo>
                      <a:pt x="263896" y="192024"/>
                    </a:lnTo>
                    <a:cubicBezTo>
                      <a:pt x="269382" y="192024"/>
                      <a:pt x="274320" y="187635"/>
                      <a:pt x="274320" y="181600"/>
                    </a:cubicBezTo>
                    <a:lnTo>
                      <a:pt x="274320" y="0"/>
                    </a:lnTo>
                    <a:lnTo>
                      <a:pt x="0" y="0"/>
                    </a:lnTo>
                    <a:lnTo>
                      <a:pt x="0" y="181600"/>
                    </a:lnTo>
                    <a:close/>
                  </a:path>
                </a:pathLst>
              </a:custGeom>
              <a:solidFill>
                <a:srgbClr val="B3B4B5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CAD6A5CB-E724-42D7-8E96-3D047D1B30D0}"/>
                  </a:ext>
                </a:extLst>
              </p:cNvPr>
              <p:cNvSpPr/>
              <p:nvPr/>
            </p:nvSpPr>
            <p:spPr>
              <a:xfrm>
                <a:off x="8501429" y="5895514"/>
                <a:ext cx="1386898" cy="194165"/>
              </a:xfrm>
              <a:custGeom>
                <a:avLst/>
                <a:gdLst>
                  <a:gd name="connsiteX0" fmla="*/ 263896 w 274320"/>
                  <a:gd name="connsiteY0" fmla="*/ 0 h 38404"/>
                  <a:gd name="connsiteX1" fmla="*/ 9876 w 274320"/>
                  <a:gd name="connsiteY1" fmla="*/ 0 h 38404"/>
                  <a:gd name="connsiteX2" fmla="*/ 0 w 274320"/>
                  <a:gd name="connsiteY2" fmla="*/ 10424 h 38404"/>
                  <a:gd name="connsiteX3" fmla="*/ 0 w 274320"/>
                  <a:gd name="connsiteY3" fmla="*/ 43343 h 38404"/>
                  <a:gd name="connsiteX4" fmla="*/ 274320 w 274320"/>
                  <a:gd name="connsiteY4" fmla="*/ 43343 h 38404"/>
                  <a:gd name="connsiteX5" fmla="*/ 274320 w 274320"/>
                  <a:gd name="connsiteY5" fmla="*/ 10424 h 38404"/>
                  <a:gd name="connsiteX6" fmla="*/ 263896 w 274320"/>
                  <a:gd name="connsiteY6" fmla="*/ 1646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320" h="38404">
                    <a:moveTo>
                      <a:pt x="263896" y="0"/>
                    </a:moveTo>
                    <a:lnTo>
                      <a:pt x="9876" y="0"/>
                    </a:lnTo>
                    <a:cubicBezTo>
                      <a:pt x="4389" y="0"/>
                      <a:pt x="0" y="4938"/>
                      <a:pt x="0" y="10424"/>
                    </a:cubicBezTo>
                    <a:lnTo>
                      <a:pt x="0" y="43343"/>
                    </a:lnTo>
                    <a:lnTo>
                      <a:pt x="274320" y="43343"/>
                    </a:lnTo>
                    <a:lnTo>
                      <a:pt x="274320" y="10424"/>
                    </a:lnTo>
                    <a:cubicBezTo>
                      <a:pt x="274320" y="4938"/>
                      <a:pt x="269931" y="1646"/>
                      <a:pt x="263896" y="1646"/>
                    </a:cubicBezTo>
                  </a:path>
                </a:pathLst>
              </a:custGeom>
              <a:solidFill>
                <a:srgbClr val="7A7A7A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E25EBE50-6ABD-420F-9AF9-E84CC8A47D83}"/>
                  </a:ext>
                </a:extLst>
              </p:cNvPr>
              <p:cNvSpPr/>
              <p:nvPr/>
            </p:nvSpPr>
            <p:spPr>
              <a:xfrm>
                <a:off x="8584114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6" name="Freeform: Shape 465">
                <a:extLst>
                  <a:ext uri="{FF2B5EF4-FFF2-40B4-BE49-F238E27FC236}">
                    <a16:creationId xmlns:a16="http://schemas.microsoft.com/office/drawing/2014/main" id="{38BCBF60-49FD-431E-964C-2347CA309CC7}"/>
                  </a:ext>
                </a:extLst>
              </p:cNvPr>
              <p:cNvSpPr/>
              <p:nvPr/>
            </p:nvSpPr>
            <p:spPr>
              <a:xfrm>
                <a:off x="8584114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7" name="Freeform: Shape 466">
                <a:extLst>
                  <a:ext uri="{FF2B5EF4-FFF2-40B4-BE49-F238E27FC236}">
                    <a16:creationId xmlns:a16="http://schemas.microsoft.com/office/drawing/2014/main" id="{937F7B82-4019-44B2-BA47-58579D569FE5}"/>
                  </a:ext>
                </a:extLst>
              </p:cNvPr>
              <p:cNvSpPr/>
              <p:nvPr/>
            </p:nvSpPr>
            <p:spPr>
              <a:xfrm>
                <a:off x="8584114" y="6480677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8" name="Freeform: Shape 467">
                <a:extLst>
                  <a:ext uri="{FF2B5EF4-FFF2-40B4-BE49-F238E27FC236}">
                    <a16:creationId xmlns:a16="http://schemas.microsoft.com/office/drawing/2014/main" id="{D3C551D9-368B-44C1-8CEA-A6E880120CFE}"/>
                  </a:ext>
                </a:extLst>
              </p:cNvPr>
              <p:cNvSpPr/>
              <p:nvPr/>
            </p:nvSpPr>
            <p:spPr>
              <a:xfrm>
                <a:off x="9008648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DA47CE65-AED4-490D-A5F7-4CBC72FFD2FA}"/>
                  </a:ext>
                </a:extLst>
              </p:cNvPr>
              <p:cNvSpPr/>
              <p:nvPr/>
            </p:nvSpPr>
            <p:spPr>
              <a:xfrm>
                <a:off x="9008648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4DA47AB0-E395-4128-9C41-1A912A472146}"/>
                  </a:ext>
                </a:extLst>
              </p:cNvPr>
              <p:cNvSpPr/>
              <p:nvPr/>
            </p:nvSpPr>
            <p:spPr>
              <a:xfrm>
                <a:off x="9008648" y="6480677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D7F956AF-F866-4241-A170-AC0491432655}"/>
                  </a:ext>
                </a:extLst>
              </p:cNvPr>
              <p:cNvSpPr/>
              <p:nvPr/>
            </p:nvSpPr>
            <p:spPr>
              <a:xfrm>
                <a:off x="9433182" y="6773394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6771D82B-F0BA-4DF3-B1F3-2F078BC7B86F}"/>
                  </a:ext>
                </a:extLst>
              </p:cNvPr>
              <p:cNvSpPr/>
              <p:nvPr/>
            </p:nvSpPr>
            <p:spPr>
              <a:xfrm>
                <a:off x="9433182" y="6187949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FFFFF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A2806A6A-0622-4985-AFF9-8A78182C458B}"/>
                  </a:ext>
                </a:extLst>
              </p:cNvPr>
              <p:cNvSpPr/>
              <p:nvPr/>
            </p:nvSpPr>
            <p:spPr>
              <a:xfrm>
                <a:off x="9433182" y="6480672"/>
                <a:ext cx="372460" cy="238780"/>
              </a:xfrm>
              <a:custGeom>
                <a:avLst/>
                <a:gdLst>
                  <a:gd name="connsiteX0" fmla="*/ 0 w 230428"/>
                  <a:gd name="connsiteY0" fmla="*/ 0 h 38404"/>
                  <a:gd name="connsiteX1" fmla="*/ 230429 w 230428"/>
                  <a:gd name="connsiteY1" fmla="*/ 0 h 38404"/>
                  <a:gd name="connsiteX2" fmla="*/ 230429 w 230428"/>
                  <a:gd name="connsiteY2" fmla="*/ 38405 h 38404"/>
                  <a:gd name="connsiteX3" fmla="*/ 0 w 230428"/>
                  <a:gd name="connsiteY3" fmla="*/ 38405 h 38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8" h="38404">
                    <a:moveTo>
                      <a:pt x="0" y="0"/>
                    </a:moveTo>
                    <a:lnTo>
                      <a:pt x="230429" y="0"/>
                    </a:lnTo>
                    <a:lnTo>
                      <a:pt x="230429" y="38405"/>
                    </a:lnTo>
                    <a:lnTo>
                      <a:pt x="0" y="38405"/>
                    </a:lnTo>
                    <a:close/>
                  </a:path>
                </a:pathLst>
              </a:custGeom>
              <a:solidFill>
                <a:srgbClr val="FCD116"/>
              </a:solidFill>
              <a:ln w="5334" cap="flat">
                <a:noFill/>
                <a:prstDash val="solid"/>
                <a:miter/>
              </a:ln>
            </p:spPr>
            <p:txBody>
              <a:bodyPr wrap="square"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235A6AA0-7B46-4904-88CE-1E47B5065F0C}"/>
                </a:ext>
              </a:extLst>
            </p:cNvPr>
            <p:cNvSpPr txBox="1"/>
            <p:nvPr/>
          </p:nvSpPr>
          <p:spPr>
            <a:xfrm>
              <a:off x="9572386" y="5172481"/>
              <a:ext cx="22442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ve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FX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74" name="Picture 473">
              <a:extLst>
                <a:ext uri="{FF2B5EF4-FFF2-40B4-BE49-F238E27FC236}">
                  <a16:creationId xmlns:a16="http://schemas.microsoft.com/office/drawing/2014/main" id="{A893CBEB-A55C-4973-83CA-E6E89D675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9603356" y="4937202"/>
              <a:ext cx="162480" cy="162480"/>
            </a:xfrm>
            <a:prstGeom prst="rect">
              <a:avLst/>
            </a:prstGeom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AE6A0B8-8F13-4611-8B28-842396A0AA48}"/>
                </a:ext>
              </a:extLst>
            </p:cNvPr>
            <p:cNvSpPr txBox="1"/>
            <p:nvPr/>
          </p:nvSpPr>
          <p:spPr>
            <a:xfrm>
              <a:off x="2158827" y="5172481"/>
              <a:ext cx="30617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5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lob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94" name="Graphic 493">
              <a:extLst>
                <a:ext uri="{FF2B5EF4-FFF2-40B4-BE49-F238E27FC236}">
                  <a16:creationId xmlns:a16="http://schemas.microsoft.com/office/drawing/2014/main" id="{D452BAD4-574A-4298-BF80-3C2E26E903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2209488" y="4894830"/>
              <a:ext cx="204852" cy="204852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B48029A4-A4A0-415B-BD6B-B70E1CC67DC8}"/>
                </a:ext>
              </a:extLst>
            </p:cNvPr>
            <p:cNvSpPr txBox="1"/>
            <p:nvPr/>
          </p:nvSpPr>
          <p:spPr>
            <a:xfrm>
              <a:off x="8900757" y="5172481"/>
              <a:ext cx="352662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Box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607" name="Picture 606" descr=" Data Box">
              <a:extLst>
                <a:ext uri="{FF2B5EF4-FFF2-40B4-BE49-F238E27FC236}">
                  <a16:creationId xmlns:a16="http://schemas.microsoft.com/office/drawing/2014/main" id="{F832BFD8-717F-4DA6-AA9C-A7D923E58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8990001" y="4925447"/>
              <a:ext cx="174174" cy="174235"/>
            </a:xfrm>
            <a:prstGeom prst="rect">
              <a:avLst/>
            </a:prstGeom>
          </p:spPr>
        </p:pic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25B85295-97B0-4651-989C-D9528D9488ED}"/>
                </a:ext>
              </a:extLst>
            </p:cNvPr>
            <p:cNvSpPr/>
            <p:nvPr/>
          </p:nvSpPr>
          <p:spPr bwMode="auto">
            <a:xfrm>
              <a:off x="304975" y="4764864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Storage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81A3887-50FE-4E3C-BE42-55FDD154A808}"/>
                </a:ext>
              </a:extLst>
            </p:cNvPr>
            <p:cNvCxnSpPr>
              <a:cxnSpLocks/>
            </p:cNvCxnSpPr>
            <p:nvPr/>
          </p:nvCxnSpPr>
          <p:spPr>
            <a:xfrm>
              <a:off x="1981686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4F62DF34-1417-4728-9D63-7DF3DC68D625}"/>
                </a:ext>
              </a:extLst>
            </p:cNvPr>
            <p:cNvCxnSpPr>
              <a:cxnSpLocks/>
            </p:cNvCxnSpPr>
            <p:nvPr/>
          </p:nvCxnSpPr>
          <p:spPr>
            <a:xfrm>
              <a:off x="2643674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5BEB5DAD-58C5-4AD3-BCB0-F9BEEF7F1298}"/>
                </a:ext>
              </a:extLst>
            </p:cNvPr>
            <p:cNvCxnSpPr>
              <a:cxnSpLocks/>
            </p:cNvCxnSpPr>
            <p:nvPr/>
          </p:nvCxnSpPr>
          <p:spPr>
            <a:xfrm>
              <a:off x="3267562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>
              <a:extLst>
                <a:ext uri="{FF2B5EF4-FFF2-40B4-BE49-F238E27FC236}">
                  <a16:creationId xmlns:a16="http://schemas.microsoft.com/office/drawing/2014/main" id="{B94D1668-22F8-4291-B347-556D5A02EF10}"/>
                </a:ext>
              </a:extLst>
            </p:cNvPr>
            <p:cNvCxnSpPr>
              <a:cxnSpLocks/>
            </p:cNvCxnSpPr>
            <p:nvPr/>
          </p:nvCxnSpPr>
          <p:spPr>
            <a:xfrm>
              <a:off x="3877009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>
              <a:extLst>
                <a:ext uri="{FF2B5EF4-FFF2-40B4-BE49-F238E27FC236}">
                  <a16:creationId xmlns:a16="http://schemas.microsoft.com/office/drawing/2014/main" id="{53C4FDDF-205B-4E38-826F-26C32AE188CA}"/>
                </a:ext>
              </a:extLst>
            </p:cNvPr>
            <p:cNvCxnSpPr>
              <a:cxnSpLocks/>
            </p:cNvCxnSpPr>
            <p:nvPr/>
          </p:nvCxnSpPr>
          <p:spPr>
            <a:xfrm>
              <a:off x="4496134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>
              <a:extLst>
                <a:ext uri="{FF2B5EF4-FFF2-40B4-BE49-F238E27FC236}">
                  <a16:creationId xmlns:a16="http://schemas.microsoft.com/office/drawing/2014/main" id="{6FBB4E19-057F-454D-A96E-F232284B9FD1}"/>
                </a:ext>
              </a:extLst>
            </p:cNvPr>
            <p:cNvCxnSpPr>
              <a:cxnSpLocks/>
            </p:cNvCxnSpPr>
            <p:nvPr/>
          </p:nvCxnSpPr>
          <p:spPr>
            <a:xfrm>
              <a:off x="5224796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>
              <a:extLst>
                <a:ext uri="{FF2B5EF4-FFF2-40B4-BE49-F238E27FC236}">
                  <a16:creationId xmlns:a16="http://schemas.microsoft.com/office/drawing/2014/main" id="{478EAD8B-8A18-4A02-BB32-A1B3BBCD69F3}"/>
                </a:ext>
              </a:extLst>
            </p:cNvPr>
            <p:cNvCxnSpPr>
              <a:cxnSpLocks/>
            </p:cNvCxnSpPr>
            <p:nvPr/>
          </p:nvCxnSpPr>
          <p:spPr>
            <a:xfrm>
              <a:off x="6016475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F1935828-EA0C-4F71-AF01-41FE26164F96}"/>
                </a:ext>
              </a:extLst>
            </p:cNvPr>
            <p:cNvCxnSpPr>
              <a:cxnSpLocks/>
            </p:cNvCxnSpPr>
            <p:nvPr/>
          </p:nvCxnSpPr>
          <p:spPr>
            <a:xfrm>
              <a:off x="6724855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746DBC6E-B5D6-495E-B1D3-5E124995E96C}"/>
                </a:ext>
              </a:extLst>
            </p:cNvPr>
            <p:cNvCxnSpPr>
              <a:cxnSpLocks/>
            </p:cNvCxnSpPr>
            <p:nvPr/>
          </p:nvCxnSpPr>
          <p:spPr>
            <a:xfrm>
              <a:off x="7372234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>
              <a:extLst>
                <a:ext uri="{FF2B5EF4-FFF2-40B4-BE49-F238E27FC236}">
                  <a16:creationId xmlns:a16="http://schemas.microsoft.com/office/drawing/2014/main" id="{4D61A38D-535E-42C3-9C6D-65E8189AA489}"/>
                </a:ext>
              </a:extLst>
            </p:cNvPr>
            <p:cNvCxnSpPr>
              <a:cxnSpLocks/>
            </p:cNvCxnSpPr>
            <p:nvPr/>
          </p:nvCxnSpPr>
          <p:spPr>
            <a:xfrm>
              <a:off x="8023910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362A7F32-574A-4B04-AEB4-BF34DAE087CB}"/>
                </a:ext>
              </a:extLst>
            </p:cNvPr>
            <p:cNvCxnSpPr>
              <a:cxnSpLocks/>
            </p:cNvCxnSpPr>
            <p:nvPr/>
          </p:nvCxnSpPr>
          <p:spPr>
            <a:xfrm>
              <a:off x="8749359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5C82AF37-943B-4C2C-A0EA-CF2C37C8E15B}"/>
                </a:ext>
              </a:extLst>
            </p:cNvPr>
            <p:cNvCxnSpPr>
              <a:cxnSpLocks/>
            </p:cNvCxnSpPr>
            <p:nvPr/>
          </p:nvCxnSpPr>
          <p:spPr>
            <a:xfrm>
              <a:off x="9393170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6170178A-C817-4D3E-8AEE-078844B1465D}"/>
                </a:ext>
              </a:extLst>
            </p:cNvPr>
            <p:cNvCxnSpPr>
              <a:cxnSpLocks/>
            </p:cNvCxnSpPr>
            <p:nvPr/>
          </p:nvCxnSpPr>
          <p:spPr>
            <a:xfrm>
              <a:off x="9967729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4248BA2B-E3AD-4290-A214-EE9D3D1782F8}"/>
                </a:ext>
              </a:extLst>
            </p:cNvPr>
            <p:cNvCxnSpPr>
              <a:cxnSpLocks/>
            </p:cNvCxnSpPr>
            <p:nvPr/>
          </p:nvCxnSpPr>
          <p:spPr>
            <a:xfrm>
              <a:off x="10612923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F0EFC900-EFF6-4022-9C3E-1B831FDB8863}"/>
                </a:ext>
              </a:extLst>
            </p:cNvPr>
            <p:cNvCxnSpPr>
              <a:cxnSpLocks/>
            </p:cNvCxnSpPr>
            <p:nvPr/>
          </p:nvCxnSpPr>
          <p:spPr>
            <a:xfrm>
              <a:off x="11218260" y="476486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AE1B18-0701-4C8E-B01B-F0FEBD7057D3}"/>
              </a:ext>
            </a:extLst>
          </p:cNvPr>
          <p:cNvGrpSpPr/>
          <p:nvPr/>
        </p:nvGrpSpPr>
        <p:grpSpPr>
          <a:xfrm>
            <a:off x="304975" y="2166202"/>
            <a:ext cx="11883535" cy="660125"/>
            <a:chOff x="304975" y="2166202"/>
            <a:chExt cx="11883535" cy="660125"/>
          </a:xfrm>
        </p:grpSpPr>
        <p:sp>
          <p:nvSpPr>
            <p:cNvPr id="330" name="Rectangle 329">
              <a:extLst>
                <a:ext uri="{FF2B5EF4-FFF2-40B4-BE49-F238E27FC236}">
                  <a16:creationId xmlns:a16="http://schemas.microsoft.com/office/drawing/2014/main" id="{DA6E4807-8AA0-4385-95C2-7573ADF50C11}"/>
                </a:ext>
              </a:extLst>
            </p:cNvPr>
            <p:cNvSpPr/>
            <p:nvPr/>
          </p:nvSpPr>
          <p:spPr bwMode="auto">
            <a:xfrm>
              <a:off x="1398590" y="216620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A56F9C3-65AC-4B96-91D6-B78550EA5E64}"/>
                </a:ext>
              </a:extLst>
            </p:cNvPr>
            <p:cNvSpPr txBox="1"/>
            <p:nvPr/>
          </p:nvSpPr>
          <p:spPr>
            <a:xfrm>
              <a:off x="1506603" y="2459274"/>
              <a:ext cx="498293" cy="21867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Calibri" panose="020F0502020204030204" pitchFamily="34" charset="0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ux Virtual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Calibri" panose="020F0502020204030204" pitchFamily="34" charset="0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Calibri" panose="020F0502020204030204" pitchFamily="34" charset="0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8" name="Graphic 177">
              <a:extLst>
                <a:ext uri="{FF2B5EF4-FFF2-40B4-BE49-F238E27FC236}">
                  <a16:creationId xmlns:a16="http://schemas.microsoft.com/office/drawing/2014/main" id="{A4F176B9-3000-4F8C-BA26-F7CFF28EB6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1640410" y="2253603"/>
              <a:ext cx="193549" cy="193549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F34BD6A-0D5D-4DE0-B8A1-6DC776DE5C46}"/>
                </a:ext>
              </a:extLst>
            </p:cNvPr>
            <p:cNvSpPr txBox="1"/>
            <p:nvPr/>
          </p:nvSpPr>
          <p:spPr>
            <a:xfrm>
              <a:off x="5740489" y="2459274"/>
              <a:ext cx="35366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bric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4" name="Graphic 183">
              <a:extLst>
                <a:ext uri="{FF2B5EF4-FFF2-40B4-BE49-F238E27FC236}">
                  <a16:creationId xmlns:a16="http://schemas.microsoft.com/office/drawing/2014/main" id="{5848C141-4B10-461E-931A-9561E3174D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5836159" y="2284830"/>
              <a:ext cx="162322" cy="162322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93C3893-0004-4222-B89B-0E43E64593EA}"/>
                </a:ext>
              </a:extLst>
            </p:cNvPr>
            <p:cNvSpPr txBox="1"/>
            <p:nvPr/>
          </p:nvSpPr>
          <p:spPr>
            <a:xfrm>
              <a:off x="8223169" y="2459274"/>
              <a:ext cx="43422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oud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6" name="Graphic 185">
              <a:extLst>
                <a:ext uri="{FF2B5EF4-FFF2-40B4-BE49-F238E27FC236}">
                  <a16:creationId xmlns:a16="http://schemas.microsoft.com/office/drawing/2014/main" id="{81BE1F1D-0DE2-4ED3-905D-1108FB47D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>
              <a:extLst>
                <a:ext uri="{96DAC541-7B7A-43D3-8B79-37D633B846F1}">
                  <asvg:svgBlip xmlns:asvg="http://schemas.microsoft.com/office/drawing/2016/SVG/main" r:embed="rId50"/>
                </a:ext>
              </a:extLst>
            </a:blip>
            <a:stretch>
              <a:fillRect/>
            </a:stretch>
          </p:blipFill>
          <p:spPr>
            <a:xfrm>
              <a:off x="8333770" y="2234128"/>
              <a:ext cx="213024" cy="213024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B57554D-457D-4D8C-80FD-9398EC7893F2}"/>
                </a:ext>
              </a:extLst>
            </p:cNvPr>
            <p:cNvSpPr txBox="1"/>
            <p:nvPr/>
          </p:nvSpPr>
          <p:spPr>
            <a:xfrm>
              <a:off x="3772458" y="2459274"/>
              <a:ext cx="43760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unction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7" name="Graphic 176">
              <a:extLst>
                <a:ext uri="{FF2B5EF4-FFF2-40B4-BE49-F238E27FC236}">
                  <a16:creationId xmlns:a16="http://schemas.microsoft.com/office/drawing/2014/main" id="{13B1B1CE-009E-44EE-9C43-AD0741A84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>
              <a:extLst>
                <a:ext uri="{96DAC541-7B7A-43D3-8B79-37D633B846F1}">
                  <asvg:svgBlip xmlns:asvg="http://schemas.microsoft.com/office/drawing/2016/SVG/main" r:embed="rId53"/>
                </a:ext>
              </a:extLst>
            </a:blip>
            <a:stretch>
              <a:fillRect/>
            </a:stretch>
          </p:blipFill>
          <p:spPr>
            <a:xfrm>
              <a:off x="3902996" y="2270622"/>
              <a:ext cx="176530" cy="176530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FA6FE40-6791-405F-9797-4EFEC0130816}"/>
                </a:ext>
              </a:extLst>
            </p:cNvPr>
            <p:cNvSpPr txBox="1"/>
            <p:nvPr/>
          </p:nvSpPr>
          <p:spPr>
            <a:xfrm>
              <a:off x="10490284" y="2459274"/>
              <a:ext cx="553894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ycleCloud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39" name="Graphic 238">
              <a:extLst>
                <a:ext uri="{FF2B5EF4-FFF2-40B4-BE49-F238E27FC236}">
                  <a16:creationId xmlns:a16="http://schemas.microsoft.com/office/drawing/2014/main" id="{A1AB238E-669E-4A44-B093-131423A17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10645414" y="2203517"/>
              <a:ext cx="243635" cy="243635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6E7604A-7663-404C-BE91-83CDFA9134D8}"/>
                </a:ext>
              </a:extLst>
            </p:cNvPr>
            <p:cNvSpPr txBox="1"/>
            <p:nvPr/>
          </p:nvSpPr>
          <p:spPr>
            <a:xfrm>
              <a:off x="11307758" y="2459274"/>
              <a:ext cx="580867" cy="32801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mwa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olution by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oudSimpl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FCC8583F-BDAE-4A49-BC5F-B3DD5AE1C1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>
              <a:extLst>
                <a:ext uri="{96DAC541-7B7A-43D3-8B79-37D633B846F1}">
                  <asvg:svgBlip xmlns:asvg="http://schemas.microsoft.com/office/drawing/2016/SVG/main" r:embed="rId59"/>
                </a:ext>
              </a:extLst>
            </a:blip>
            <a:stretch>
              <a:fillRect/>
            </a:stretch>
          </p:blipFill>
          <p:spPr>
            <a:xfrm>
              <a:off x="11503697" y="2258163"/>
              <a:ext cx="188989" cy="18898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A76C4D1-185E-4355-80FF-742C0E0BB776}"/>
                </a:ext>
              </a:extLst>
            </p:cNvPr>
            <p:cNvSpPr txBox="1"/>
            <p:nvPr/>
          </p:nvSpPr>
          <p:spPr>
            <a:xfrm>
              <a:off x="6357733" y="2459274"/>
              <a:ext cx="632120" cy="2186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 Machin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cale Set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5" name="Graphic 184">
              <a:extLst>
                <a:ext uri="{FF2B5EF4-FFF2-40B4-BE49-F238E27FC236}">
                  <a16:creationId xmlns:a16="http://schemas.microsoft.com/office/drawing/2014/main" id="{D1B0B1B3-F6F9-4BFF-A88A-620B40B60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>
              <a:extLst>
                <a:ext uri="{96DAC541-7B7A-43D3-8B79-37D633B846F1}">
                  <asvg:svgBlip xmlns:asvg="http://schemas.microsoft.com/office/drawing/2016/SVG/main" r:embed="rId62"/>
                </a:ext>
              </a:extLst>
            </a:blip>
            <a:stretch>
              <a:fillRect/>
            </a:stretch>
          </p:blipFill>
          <p:spPr>
            <a:xfrm>
              <a:off x="6581838" y="2263242"/>
              <a:ext cx="183910" cy="18391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83D6CB7-16B0-4DA0-914A-6198D173E959}"/>
                </a:ext>
              </a:extLst>
            </p:cNvPr>
            <p:cNvSpPr txBox="1"/>
            <p:nvPr/>
          </p:nvSpPr>
          <p:spPr>
            <a:xfrm>
              <a:off x="3155213" y="2459274"/>
              <a:ext cx="35366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</a:t>
              </a:r>
            </a:p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0" name="Graphic 179">
              <a:extLst>
                <a:ext uri="{FF2B5EF4-FFF2-40B4-BE49-F238E27FC236}">
                  <a16:creationId xmlns:a16="http://schemas.microsoft.com/office/drawing/2014/main" id="{68125338-B1B2-4942-81C2-E13366C378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>
              <a:extLst>
                <a:ext uri="{96DAC541-7B7A-43D3-8B79-37D633B846F1}">
                  <asvg:svgBlip xmlns:asvg="http://schemas.microsoft.com/office/drawing/2016/SVG/main" r:embed="rId65"/>
                </a:ext>
              </a:extLst>
            </a:blip>
            <a:stretch>
              <a:fillRect/>
            </a:stretch>
          </p:blipFill>
          <p:spPr>
            <a:xfrm>
              <a:off x="3243779" y="2270622"/>
              <a:ext cx="176530" cy="17653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76EF0D7-F0CE-4A29-A35B-5DB9E211BEEA}"/>
                </a:ext>
              </a:extLst>
            </p:cNvPr>
            <p:cNvSpPr txBox="1"/>
            <p:nvPr/>
          </p:nvSpPr>
          <p:spPr>
            <a:xfrm>
              <a:off x="4995231" y="2459274"/>
              <a:ext cx="481676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in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an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75" name="Graphic 174">
              <a:extLst>
                <a:ext uri="{FF2B5EF4-FFF2-40B4-BE49-F238E27FC236}">
                  <a16:creationId xmlns:a16="http://schemas.microsoft.com/office/drawing/2014/main" id="{040C16E7-AE26-41DD-9863-48F96938A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>
              <a:extLst>
                <a:ext uri="{96DAC541-7B7A-43D3-8B79-37D633B846F1}">
                  <asvg:svgBlip xmlns:asvg="http://schemas.microsoft.com/office/drawing/2016/SVG/main" r:embed="rId68"/>
                </a:ext>
              </a:extLst>
            </a:blip>
            <a:stretch>
              <a:fillRect/>
            </a:stretch>
          </p:blipFill>
          <p:spPr>
            <a:xfrm>
              <a:off x="5154908" y="2284830"/>
              <a:ext cx="162322" cy="162322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9D48161-9D7E-481E-A091-F684E6D3D9F7}"/>
                </a:ext>
              </a:extLst>
            </p:cNvPr>
            <p:cNvSpPr txBox="1"/>
            <p:nvPr/>
          </p:nvSpPr>
          <p:spPr>
            <a:xfrm>
              <a:off x="7253435" y="2459274"/>
              <a:ext cx="706152" cy="2186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Kubernete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 (AKS)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8" name="Graphic 227">
              <a:extLst>
                <a:ext uri="{FF2B5EF4-FFF2-40B4-BE49-F238E27FC236}">
                  <a16:creationId xmlns:a16="http://schemas.microsoft.com/office/drawing/2014/main" id="{F20D3AAC-0013-4849-9468-8C345A477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>
              <a:extLst>
                <a:ext uri="{96DAC541-7B7A-43D3-8B79-37D633B846F1}">
                  <asvg:svgBlip xmlns:asvg="http://schemas.microsoft.com/office/drawing/2016/SVG/main" r:embed="rId71"/>
                </a:ext>
              </a:extLst>
            </a:blip>
            <a:stretch>
              <a:fillRect/>
            </a:stretch>
          </p:blipFill>
          <p:spPr>
            <a:xfrm>
              <a:off x="7497216" y="2228561"/>
              <a:ext cx="218591" cy="21859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68A0863-1EE5-4258-9613-5E3834673427}"/>
                </a:ext>
              </a:extLst>
            </p:cNvPr>
            <p:cNvSpPr txBox="1"/>
            <p:nvPr/>
          </p:nvSpPr>
          <p:spPr>
            <a:xfrm>
              <a:off x="4473647" y="2459274"/>
              <a:ext cx="258002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t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96" name="Graphic 595" descr="Manage Multiple">
              <a:extLst>
                <a:ext uri="{FF2B5EF4-FFF2-40B4-BE49-F238E27FC236}">
                  <a16:creationId xmlns:a16="http://schemas.microsoft.com/office/drawing/2014/main" id="{28724A5C-4050-41C5-9F05-B3186F910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4"/>
                </a:ext>
              </a:extLst>
            </a:blip>
            <a:stretch>
              <a:fillRect/>
            </a:stretch>
          </p:blipFill>
          <p:spPr>
            <a:xfrm>
              <a:off x="4505651" y="2253157"/>
              <a:ext cx="193995" cy="193995"/>
            </a:xfrm>
            <a:prstGeom prst="rect">
              <a:avLst/>
            </a:prstGeom>
          </p:spPr>
        </p:pic>
        <p:sp>
          <p:nvSpPr>
            <p:cNvPr id="589" name="Rectangle 588">
              <a:extLst>
                <a:ext uri="{FF2B5EF4-FFF2-40B4-BE49-F238E27FC236}">
                  <a16:creationId xmlns:a16="http://schemas.microsoft.com/office/drawing/2014/main" id="{42FE22B9-49CC-443F-B273-E0AAC8355DA4}"/>
                </a:ext>
              </a:extLst>
            </p:cNvPr>
            <p:cNvSpPr/>
            <p:nvPr/>
          </p:nvSpPr>
          <p:spPr bwMode="auto">
            <a:xfrm>
              <a:off x="304975" y="216620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Segoe UI" pitchFamily="34" charset="0"/>
                  <a:cs typeface="Segoe UI Semibold" panose="020B0702040204020203" pitchFamily="34" charset="0"/>
                </a:rPr>
                <a:t>Compute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322D8E6-A8A7-49FB-965F-0969BE3C829B}"/>
                </a:ext>
              </a:extLst>
            </p:cNvPr>
            <p:cNvSpPr txBox="1"/>
            <p:nvPr/>
          </p:nvSpPr>
          <p:spPr>
            <a:xfrm>
              <a:off x="2216345" y="2459274"/>
              <a:ext cx="675286" cy="21867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914492">
                <a:lnSpc>
                  <a:spcPct val="90000"/>
                </a:lnSpc>
                <a:defRPr sz="1400">
                  <a:solidFill>
                    <a:schemeClr val="bg1"/>
                  </a:solidFill>
                  <a:latin typeface="Segoe UI" panose="020B0502040204020203" pitchFamily="34" charset="0"/>
                  <a:ea typeface="Calibri" panose="020F0502020204030204" pitchFamily="34" charset="0"/>
                </a:defRPr>
              </a:lvl1pPr>
            </a:lstStyle>
            <a:p>
              <a:pPr marL="0" marR="0" lvl="0" indent="0" algn="ctr" defTabSz="2449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cs typeface="+mn-cs"/>
                  <a:hlinkClick r:id="rId7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ndows Virtual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cs typeface="+mn-cs"/>
                  <a:hlinkClick r:id="rId7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cs typeface="+mn-cs"/>
                  <a:hlinkClick r:id="rId7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cs typeface="+mn-cs"/>
              </a:endParaRPr>
            </a:p>
          </p:txBody>
        </p:sp>
        <p:pic>
          <p:nvPicPr>
            <p:cNvPr id="312" name="Graphic 311">
              <a:extLst>
                <a:ext uri="{FF2B5EF4-FFF2-40B4-BE49-F238E27FC236}">
                  <a16:creationId xmlns:a16="http://schemas.microsoft.com/office/drawing/2014/main" id="{BD8CE088-A1F3-4E53-86A1-D53392E39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2457214" y="2253603"/>
              <a:ext cx="193549" cy="193549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55F67C7-FB75-4B20-8FA8-58B8279A61B8}"/>
                </a:ext>
              </a:extLst>
            </p:cNvPr>
            <p:cNvSpPr txBox="1"/>
            <p:nvPr/>
          </p:nvSpPr>
          <p:spPr>
            <a:xfrm>
              <a:off x="8920977" y="2459274"/>
              <a:ext cx="434226" cy="21867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QL Serv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n VM'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13" name="Graphic 312">
              <a:extLst>
                <a:ext uri="{FF2B5EF4-FFF2-40B4-BE49-F238E27FC236}">
                  <a16:creationId xmlns:a16="http://schemas.microsoft.com/office/drawing/2014/main" id="{9DD4DE9A-5F1F-4735-9C4B-C4DB317B8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9041316" y="2253603"/>
              <a:ext cx="193549" cy="193549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DE20D87-855B-4649-8D2C-994CBCA13DE0}"/>
                </a:ext>
              </a:extLst>
            </p:cNvPr>
            <p:cNvSpPr txBox="1"/>
            <p:nvPr/>
          </p:nvSpPr>
          <p:spPr>
            <a:xfrm>
              <a:off x="9618785" y="2459274"/>
              <a:ext cx="607917" cy="32801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AP HANA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n Azure Larg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an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14" name="Graphic 313">
              <a:extLst>
                <a:ext uri="{FF2B5EF4-FFF2-40B4-BE49-F238E27FC236}">
                  <a16:creationId xmlns:a16="http://schemas.microsoft.com/office/drawing/2014/main" id="{52DC92CF-0BE9-4A10-82B3-0B9D3A9E0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9825969" y="2253603"/>
              <a:ext cx="193549" cy="193549"/>
            </a:xfrm>
            <a:prstGeom prst="rect">
              <a:avLst/>
            </a:prstGeom>
          </p:spPr>
        </p:pic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1A5C7E63-A73C-4D03-91E2-8442AB1DDBDA}"/>
                </a:ext>
              </a:extLst>
            </p:cNvPr>
            <p:cNvCxnSpPr>
              <a:cxnSpLocks/>
            </p:cNvCxnSpPr>
            <p:nvPr/>
          </p:nvCxnSpPr>
          <p:spPr>
            <a:xfrm>
              <a:off x="2084554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03DF756D-FD07-4D48-81B0-9171FB4C473F}"/>
                </a:ext>
              </a:extLst>
            </p:cNvPr>
            <p:cNvCxnSpPr>
              <a:cxnSpLocks/>
            </p:cNvCxnSpPr>
            <p:nvPr/>
          </p:nvCxnSpPr>
          <p:spPr>
            <a:xfrm>
              <a:off x="3023422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>
              <a:extLst>
                <a:ext uri="{FF2B5EF4-FFF2-40B4-BE49-F238E27FC236}">
                  <a16:creationId xmlns:a16="http://schemas.microsoft.com/office/drawing/2014/main" id="{CD46B76C-1932-4010-B1B4-A38EC8CD0F5D}"/>
                </a:ext>
              </a:extLst>
            </p:cNvPr>
            <p:cNvCxnSpPr>
              <a:cxnSpLocks/>
            </p:cNvCxnSpPr>
            <p:nvPr/>
          </p:nvCxnSpPr>
          <p:spPr>
            <a:xfrm>
              <a:off x="3640667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>
              <a:extLst>
                <a:ext uri="{FF2B5EF4-FFF2-40B4-BE49-F238E27FC236}">
                  <a16:creationId xmlns:a16="http://schemas.microsoft.com/office/drawing/2014/main" id="{42BEFEFB-79CE-4797-B7E7-2A3977D4AF16}"/>
                </a:ext>
              </a:extLst>
            </p:cNvPr>
            <p:cNvCxnSpPr>
              <a:cxnSpLocks/>
            </p:cNvCxnSpPr>
            <p:nvPr/>
          </p:nvCxnSpPr>
          <p:spPr>
            <a:xfrm>
              <a:off x="4341856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>
              <a:extLst>
                <a:ext uri="{FF2B5EF4-FFF2-40B4-BE49-F238E27FC236}">
                  <a16:creationId xmlns:a16="http://schemas.microsoft.com/office/drawing/2014/main" id="{4BD645B5-15C5-470D-BB0E-20CF00284064}"/>
                </a:ext>
              </a:extLst>
            </p:cNvPr>
            <p:cNvCxnSpPr>
              <a:cxnSpLocks/>
            </p:cNvCxnSpPr>
            <p:nvPr/>
          </p:nvCxnSpPr>
          <p:spPr>
            <a:xfrm>
              <a:off x="4863440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673EB38F-3C49-47D0-8B5B-5FEA1E8575B0}"/>
                </a:ext>
              </a:extLst>
            </p:cNvPr>
            <p:cNvCxnSpPr>
              <a:cxnSpLocks/>
            </p:cNvCxnSpPr>
            <p:nvPr/>
          </p:nvCxnSpPr>
          <p:spPr>
            <a:xfrm>
              <a:off x="5608698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91FF869F-AEA1-4DB6-8180-13F67AA8B723}"/>
                </a:ext>
              </a:extLst>
            </p:cNvPr>
            <p:cNvCxnSpPr>
              <a:cxnSpLocks/>
            </p:cNvCxnSpPr>
            <p:nvPr/>
          </p:nvCxnSpPr>
          <p:spPr>
            <a:xfrm>
              <a:off x="6225942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A8FED073-2115-4A0C-ADAC-2008F54B3B1C}"/>
                </a:ext>
              </a:extLst>
            </p:cNvPr>
            <p:cNvCxnSpPr>
              <a:cxnSpLocks/>
            </p:cNvCxnSpPr>
            <p:nvPr/>
          </p:nvCxnSpPr>
          <p:spPr>
            <a:xfrm>
              <a:off x="7121644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>
              <a:extLst>
                <a:ext uri="{FF2B5EF4-FFF2-40B4-BE49-F238E27FC236}">
                  <a16:creationId xmlns:a16="http://schemas.microsoft.com/office/drawing/2014/main" id="{504C6DE9-096C-4530-AE45-17B09F9A57E0}"/>
                </a:ext>
              </a:extLst>
            </p:cNvPr>
            <p:cNvCxnSpPr>
              <a:cxnSpLocks/>
            </p:cNvCxnSpPr>
            <p:nvPr/>
          </p:nvCxnSpPr>
          <p:spPr>
            <a:xfrm>
              <a:off x="8091378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05D2288F-F4EA-4729-BE6B-993FEDD1F063}"/>
                </a:ext>
              </a:extLst>
            </p:cNvPr>
            <p:cNvCxnSpPr>
              <a:cxnSpLocks/>
            </p:cNvCxnSpPr>
            <p:nvPr/>
          </p:nvCxnSpPr>
          <p:spPr>
            <a:xfrm>
              <a:off x="8789186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52BE24A7-1810-4663-8E4B-BE1DF86A3D00}"/>
                </a:ext>
              </a:extLst>
            </p:cNvPr>
            <p:cNvCxnSpPr>
              <a:cxnSpLocks/>
            </p:cNvCxnSpPr>
            <p:nvPr/>
          </p:nvCxnSpPr>
          <p:spPr>
            <a:xfrm>
              <a:off x="9486994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064FEA3D-7E29-428E-B787-AB101B107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358493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F481DC42-8062-4346-B7DF-748F11E58A16}"/>
                </a:ext>
              </a:extLst>
            </p:cNvPr>
            <p:cNvCxnSpPr>
              <a:cxnSpLocks/>
            </p:cNvCxnSpPr>
            <p:nvPr/>
          </p:nvCxnSpPr>
          <p:spPr>
            <a:xfrm>
              <a:off x="11175969" y="217093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80A310F-6F89-4503-98B0-5480B22B9273}"/>
              </a:ext>
            </a:extLst>
          </p:cNvPr>
          <p:cNvGrpSpPr/>
          <p:nvPr/>
        </p:nvGrpSpPr>
        <p:grpSpPr>
          <a:xfrm>
            <a:off x="304975" y="3035580"/>
            <a:ext cx="11883535" cy="655389"/>
            <a:chOff x="304975" y="3035580"/>
            <a:chExt cx="11883535" cy="655389"/>
          </a:xfrm>
        </p:grpSpPr>
        <p:sp>
          <p:nvSpPr>
            <p:cNvPr id="346" name="Rectangle 345">
              <a:extLst>
                <a:ext uri="{FF2B5EF4-FFF2-40B4-BE49-F238E27FC236}">
                  <a16:creationId xmlns:a16="http://schemas.microsoft.com/office/drawing/2014/main" id="{74E25F23-66F9-4325-BA94-00516AA38440}"/>
                </a:ext>
              </a:extLst>
            </p:cNvPr>
            <p:cNvSpPr/>
            <p:nvPr/>
          </p:nvSpPr>
          <p:spPr bwMode="auto">
            <a:xfrm>
              <a:off x="1398590" y="3035580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75" name="TextBox 774">
              <a:extLst>
                <a:ext uri="{FF2B5EF4-FFF2-40B4-BE49-F238E27FC236}">
                  <a16:creationId xmlns:a16="http://schemas.microsoft.com/office/drawing/2014/main" id="{FA599D4A-A833-4F1B-A4C1-7CAB2E3639DC}"/>
                </a:ext>
              </a:extLst>
            </p:cNvPr>
            <p:cNvSpPr txBox="1"/>
            <p:nvPr/>
          </p:nvSpPr>
          <p:spPr>
            <a:xfrm>
              <a:off x="3107891" y="3383782"/>
              <a:ext cx="44242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in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gist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4" name="Graphic 223">
              <a:extLst>
                <a:ext uri="{FF2B5EF4-FFF2-40B4-BE49-F238E27FC236}">
                  <a16:creationId xmlns:a16="http://schemas.microsoft.com/office/drawing/2014/main" id="{BC24C8F5-AD12-422D-BE5C-7B2C33F8A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9">
              <a:extLst>
                <a:ext uri="{96DAC541-7B7A-43D3-8B79-37D633B846F1}">
                  <asvg:svgBlip xmlns:asvg="http://schemas.microsoft.com/office/drawing/2016/SVG/main" r:embed="rId80"/>
                </a:ext>
              </a:extLst>
            </a:blip>
            <a:stretch>
              <a:fillRect/>
            </a:stretch>
          </p:blipFill>
          <p:spPr>
            <a:xfrm>
              <a:off x="3228508" y="3110111"/>
              <a:ext cx="201193" cy="201193"/>
            </a:xfrm>
            <a:prstGeom prst="rect">
              <a:avLst/>
            </a:prstGeom>
          </p:spPr>
        </p:pic>
        <p:sp>
          <p:nvSpPr>
            <p:cNvPr id="778" name="TextBox 777">
              <a:extLst>
                <a:ext uri="{FF2B5EF4-FFF2-40B4-BE49-F238E27FC236}">
                  <a16:creationId xmlns:a16="http://schemas.microsoft.com/office/drawing/2014/main" id="{2FE3B322-D3ED-44AE-BA94-6D0BB7EBB589}"/>
                </a:ext>
              </a:extLst>
            </p:cNvPr>
            <p:cNvSpPr txBox="1"/>
            <p:nvPr/>
          </p:nvSpPr>
          <p:spPr>
            <a:xfrm>
              <a:off x="3774730" y="3383782"/>
              <a:ext cx="44242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in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tan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6" name="Graphic 225">
              <a:extLst>
                <a:ext uri="{FF2B5EF4-FFF2-40B4-BE49-F238E27FC236}">
                  <a16:creationId xmlns:a16="http://schemas.microsoft.com/office/drawing/2014/main" id="{16F6D4CC-9362-4B99-B60C-7F68EE0025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>
              <a:extLst>
                <a:ext uri="{96DAC541-7B7A-43D3-8B79-37D633B846F1}">
                  <asvg:svgBlip xmlns:asvg="http://schemas.microsoft.com/office/drawing/2016/SVG/main" r:embed="rId68"/>
                </a:ext>
              </a:extLst>
            </a:blip>
            <a:stretch>
              <a:fillRect/>
            </a:stretch>
          </p:blipFill>
          <p:spPr>
            <a:xfrm>
              <a:off x="3895347" y="3110111"/>
              <a:ext cx="201193" cy="201193"/>
            </a:xfrm>
            <a:prstGeom prst="rect">
              <a:avLst/>
            </a:prstGeom>
          </p:spPr>
        </p:pic>
        <p:sp>
          <p:nvSpPr>
            <p:cNvPr id="784" name="TextBox 783">
              <a:extLst>
                <a:ext uri="{FF2B5EF4-FFF2-40B4-BE49-F238E27FC236}">
                  <a16:creationId xmlns:a16="http://schemas.microsoft.com/office/drawing/2014/main" id="{300F3994-01D6-49A1-B48B-B06B2697F11C}"/>
                </a:ext>
              </a:extLst>
            </p:cNvPr>
            <p:cNvSpPr txBox="1"/>
            <p:nvPr/>
          </p:nvSpPr>
          <p:spPr>
            <a:xfrm>
              <a:off x="4845414" y="3383782"/>
              <a:ext cx="85600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ubernetes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7" name="Graphic 226">
              <a:extLst>
                <a:ext uri="{FF2B5EF4-FFF2-40B4-BE49-F238E27FC236}">
                  <a16:creationId xmlns:a16="http://schemas.microsoft.com/office/drawing/2014/main" id="{B3C97A06-108A-4D34-A279-507395D891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>
              <a:extLst>
                <a:ext uri="{96DAC541-7B7A-43D3-8B79-37D633B846F1}">
                  <asvg:svgBlip xmlns:asvg="http://schemas.microsoft.com/office/drawing/2016/SVG/main" r:embed="rId71"/>
                </a:ext>
              </a:extLst>
            </a:blip>
            <a:stretch>
              <a:fillRect/>
            </a:stretch>
          </p:blipFill>
          <p:spPr>
            <a:xfrm>
              <a:off x="5172819" y="3110111"/>
              <a:ext cx="201194" cy="201193"/>
            </a:xfrm>
            <a:prstGeom prst="rect">
              <a:avLst/>
            </a:prstGeom>
          </p:spPr>
        </p:pic>
        <p:sp>
          <p:nvSpPr>
            <p:cNvPr id="790" name="TextBox 789">
              <a:extLst>
                <a:ext uri="{FF2B5EF4-FFF2-40B4-BE49-F238E27FC236}">
                  <a16:creationId xmlns:a16="http://schemas.microsoft.com/office/drawing/2014/main" id="{C78BD62A-C4E7-47E2-8756-3BD190B8DDA5}"/>
                </a:ext>
              </a:extLst>
            </p:cNvPr>
            <p:cNvSpPr txBox="1"/>
            <p:nvPr/>
          </p:nvSpPr>
          <p:spPr>
            <a:xfrm>
              <a:off x="6558278" y="3383782"/>
              <a:ext cx="46166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ev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pa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30" name="Graphic 229">
              <a:extLst>
                <a:ext uri="{FF2B5EF4-FFF2-40B4-BE49-F238E27FC236}">
                  <a16:creationId xmlns:a16="http://schemas.microsoft.com/office/drawing/2014/main" id="{5237E057-1D2B-4BD0-B051-97E963115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82">
              <a:extLst>
                <a:ext uri="{96DAC541-7B7A-43D3-8B79-37D633B846F1}">
                  <asvg:svgBlip xmlns:asvg="http://schemas.microsoft.com/office/drawing/2016/SVG/main" r:embed="rId83"/>
                </a:ext>
              </a:extLst>
            </a:blip>
            <a:stretch>
              <a:fillRect/>
            </a:stretch>
          </p:blipFill>
          <p:spPr>
            <a:xfrm>
              <a:off x="6688514" y="3110111"/>
              <a:ext cx="201193" cy="201193"/>
            </a:xfrm>
            <a:prstGeom prst="rect">
              <a:avLst/>
            </a:prstGeom>
          </p:spPr>
        </p:pic>
        <p:sp>
          <p:nvSpPr>
            <p:cNvPr id="787" name="TextBox 786">
              <a:extLst>
                <a:ext uri="{FF2B5EF4-FFF2-40B4-BE49-F238E27FC236}">
                  <a16:creationId xmlns:a16="http://schemas.microsoft.com/office/drawing/2014/main" id="{1C3D2E65-D25E-4703-BCA7-158FDAC0559A}"/>
                </a:ext>
              </a:extLst>
            </p:cNvPr>
            <p:cNvSpPr txBox="1"/>
            <p:nvPr/>
          </p:nvSpPr>
          <p:spPr>
            <a:xfrm>
              <a:off x="5767954" y="3383782"/>
              <a:ext cx="58349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 App fo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iner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8" name="Graphic 257">
              <a:extLst>
                <a:ext uri="{FF2B5EF4-FFF2-40B4-BE49-F238E27FC236}">
                  <a16:creationId xmlns:a16="http://schemas.microsoft.com/office/drawing/2014/main" id="{8C2820A9-CAD2-414A-BC95-93E678F77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>
              <a:extLst>
                <a:ext uri="{96DAC541-7B7A-43D3-8B79-37D633B846F1}">
                  <asvg:svgBlip xmlns:asvg="http://schemas.microsoft.com/office/drawing/2016/SVG/main" r:embed="rId65"/>
                </a:ext>
              </a:extLst>
            </a:blip>
            <a:stretch>
              <a:fillRect/>
            </a:stretch>
          </p:blipFill>
          <p:spPr>
            <a:xfrm>
              <a:off x="5959103" y="3110111"/>
              <a:ext cx="201193" cy="201193"/>
            </a:xfrm>
            <a:prstGeom prst="rect">
              <a:avLst/>
            </a:prstGeom>
          </p:spPr>
        </p:pic>
        <p:sp>
          <p:nvSpPr>
            <p:cNvPr id="769" name="TextBox 768">
              <a:extLst>
                <a:ext uri="{FF2B5EF4-FFF2-40B4-BE49-F238E27FC236}">
                  <a16:creationId xmlns:a16="http://schemas.microsoft.com/office/drawing/2014/main" id="{67A97D52-12F4-418E-BFBC-140D8E5FF519}"/>
                </a:ext>
              </a:extLst>
            </p:cNvPr>
            <p:cNvSpPr txBox="1"/>
            <p:nvPr/>
          </p:nvSpPr>
          <p:spPr>
            <a:xfrm>
              <a:off x="1596250" y="3383782"/>
              <a:ext cx="31899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9" name="Graphic 258">
              <a:extLst>
                <a:ext uri="{FF2B5EF4-FFF2-40B4-BE49-F238E27FC236}">
                  <a16:creationId xmlns:a16="http://schemas.microsoft.com/office/drawing/2014/main" id="{189B988C-FE55-4638-B7E4-2993A4209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>
              <a:extLst>
                <a:ext uri="{96DAC541-7B7A-43D3-8B79-37D633B846F1}">
                  <asvg:svgBlip xmlns:asvg="http://schemas.microsoft.com/office/drawing/2016/SVG/main" r:embed="rId65"/>
                </a:ext>
              </a:extLst>
            </a:blip>
            <a:stretch>
              <a:fillRect/>
            </a:stretch>
          </p:blipFill>
          <p:spPr>
            <a:xfrm>
              <a:off x="1655152" y="3110111"/>
              <a:ext cx="201193" cy="201193"/>
            </a:xfrm>
            <a:prstGeom prst="rect">
              <a:avLst/>
            </a:prstGeom>
          </p:spPr>
        </p:pic>
        <p:sp>
          <p:nvSpPr>
            <p:cNvPr id="781" name="TextBox 780">
              <a:extLst>
                <a:ext uri="{FF2B5EF4-FFF2-40B4-BE49-F238E27FC236}">
                  <a16:creationId xmlns:a16="http://schemas.microsoft.com/office/drawing/2014/main" id="{A5078346-14F0-4D4C-937F-98B0662BB3C0}"/>
                </a:ext>
              </a:extLst>
            </p:cNvPr>
            <p:cNvSpPr txBox="1"/>
            <p:nvPr/>
          </p:nvSpPr>
          <p:spPr>
            <a:xfrm>
              <a:off x="4471838" y="3383782"/>
              <a:ext cx="31899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bric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2" name="Graphic 261">
              <a:extLst>
                <a:ext uri="{FF2B5EF4-FFF2-40B4-BE49-F238E27FC236}">
                  <a16:creationId xmlns:a16="http://schemas.microsoft.com/office/drawing/2014/main" id="{D6640D57-CC3B-4825-B228-EB162A8CD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4530740" y="3110111"/>
              <a:ext cx="201193" cy="201193"/>
            </a:xfrm>
            <a:prstGeom prst="rect">
              <a:avLst/>
            </a:prstGeom>
          </p:spPr>
        </p:pic>
        <p:sp>
          <p:nvSpPr>
            <p:cNvPr id="772" name="TextBox 771">
              <a:extLst>
                <a:ext uri="{FF2B5EF4-FFF2-40B4-BE49-F238E27FC236}">
                  <a16:creationId xmlns:a16="http://schemas.microsoft.com/office/drawing/2014/main" id="{7B88AEB7-E0F5-4298-817D-1113E25125F0}"/>
                </a:ext>
              </a:extLst>
            </p:cNvPr>
            <p:cNvSpPr txBox="1"/>
            <p:nvPr/>
          </p:nvSpPr>
          <p:spPr>
            <a:xfrm>
              <a:off x="2448581" y="3383782"/>
              <a:ext cx="253274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t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95" name="Graphic 594" descr="Manage Multiple">
              <a:extLst>
                <a:ext uri="{FF2B5EF4-FFF2-40B4-BE49-F238E27FC236}">
                  <a16:creationId xmlns:a16="http://schemas.microsoft.com/office/drawing/2014/main" id="{7B2876B0-4635-459F-9221-CEC91B878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4"/>
                </a:ext>
              </a:extLst>
            </a:blip>
            <a:stretch>
              <a:fillRect/>
            </a:stretch>
          </p:blipFill>
          <p:spPr>
            <a:xfrm>
              <a:off x="2468864" y="3098596"/>
              <a:ext cx="212708" cy="212708"/>
            </a:xfrm>
            <a:prstGeom prst="rect">
              <a:avLst/>
            </a:prstGeom>
          </p:spPr>
        </p:pic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id="{FC6C7096-220C-40B9-8E47-25E49E08BABB}"/>
                </a:ext>
              </a:extLst>
            </p:cNvPr>
            <p:cNvSpPr/>
            <p:nvPr/>
          </p:nvSpPr>
          <p:spPr bwMode="auto">
            <a:xfrm>
              <a:off x="304975" y="3035580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Containers</a:t>
              </a:r>
            </a:p>
          </p:txBody>
        </p: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096071AA-3A63-48B8-8BFD-31092F011CFD}"/>
                </a:ext>
              </a:extLst>
            </p:cNvPr>
            <p:cNvCxnSpPr>
              <a:cxnSpLocks/>
            </p:cNvCxnSpPr>
            <p:nvPr/>
          </p:nvCxnSpPr>
          <p:spPr>
            <a:xfrm>
              <a:off x="2084554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3320EE18-8C6A-43C0-A4EE-0FCA70463FF0}"/>
                </a:ext>
              </a:extLst>
            </p:cNvPr>
            <p:cNvCxnSpPr>
              <a:cxnSpLocks/>
            </p:cNvCxnSpPr>
            <p:nvPr/>
          </p:nvCxnSpPr>
          <p:spPr>
            <a:xfrm>
              <a:off x="3023422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F7EF4FD0-7DA0-4467-ADA6-EA45615A9D97}"/>
                </a:ext>
              </a:extLst>
            </p:cNvPr>
            <p:cNvCxnSpPr>
              <a:cxnSpLocks/>
            </p:cNvCxnSpPr>
            <p:nvPr/>
          </p:nvCxnSpPr>
          <p:spPr>
            <a:xfrm>
              <a:off x="3640667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>
              <a:extLst>
                <a:ext uri="{FF2B5EF4-FFF2-40B4-BE49-F238E27FC236}">
                  <a16:creationId xmlns:a16="http://schemas.microsoft.com/office/drawing/2014/main" id="{EBAB4AA2-9FB2-482E-AB39-D4F3A37851AF}"/>
                </a:ext>
              </a:extLst>
            </p:cNvPr>
            <p:cNvCxnSpPr>
              <a:cxnSpLocks/>
            </p:cNvCxnSpPr>
            <p:nvPr/>
          </p:nvCxnSpPr>
          <p:spPr>
            <a:xfrm>
              <a:off x="4341856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699D0212-6474-4D04-918F-AE11A1CD056F}"/>
                </a:ext>
              </a:extLst>
            </p:cNvPr>
            <p:cNvCxnSpPr>
              <a:cxnSpLocks/>
            </p:cNvCxnSpPr>
            <p:nvPr/>
          </p:nvCxnSpPr>
          <p:spPr>
            <a:xfrm>
              <a:off x="4863440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CBAB5C45-AD31-45AB-9013-E3B87B488359}"/>
                </a:ext>
              </a:extLst>
            </p:cNvPr>
            <p:cNvCxnSpPr>
              <a:cxnSpLocks/>
            </p:cNvCxnSpPr>
            <p:nvPr/>
          </p:nvCxnSpPr>
          <p:spPr>
            <a:xfrm>
              <a:off x="5701418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49ADEF97-9B9A-443C-8514-09E4AAF68CA1}"/>
                </a:ext>
              </a:extLst>
            </p:cNvPr>
            <p:cNvCxnSpPr>
              <a:cxnSpLocks/>
            </p:cNvCxnSpPr>
            <p:nvPr/>
          </p:nvCxnSpPr>
          <p:spPr>
            <a:xfrm>
              <a:off x="6391377" y="3035580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4" name="Rectangle: Rounded Corners 402">
            <a:extLst>
              <a:ext uri="{FF2B5EF4-FFF2-40B4-BE49-F238E27FC236}">
                <a16:creationId xmlns:a16="http://schemas.microsoft.com/office/drawing/2014/main" id="{08E616B1-EC7D-407C-8957-A9A022D168DB}"/>
              </a:ext>
            </a:extLst>
          </p:cNvPr>
          <p:cNvSpPr/>
          <p:nvPr/>
        </p:nvSpPr>
        <p:spPr bwMode="auto">
          <a:xfrm rot="16200000" flipH="1">
            <a:off x="8262454" y="3224770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5" name="Oval 404">
            <a:extLst>
              <a:ext uri="{FF2B5EF4-FFF2-40B4-BE49-F238E27FC236}">
                <a16:creationId xmlns:a16="http://schemas.microsoft.com/office/drawing/2014/main" id="{0269AFCA-AAE2-4606-AEBE-BF75CBEB9AE0}"/>
              </a:ext>
            </a:extLst>
          </p:cNvPr>
          <p:cNvSpPr/>
          <p:nvPr/>
        </p:nvSpPr>
        <p:spPr bwMode="auto">
          <a:xfrm>
            <a:off x="104475" y="6383751"/>
            <a:ext cx="203200" cy="203200"/>
          </a:xfrm>
          <a:prstGeom prst="ellipse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3D3F06E1-DAEB-4E59-AB1B-F7A72E021A28}"/>
              </a:ext>
            </a:extLst>
          </p:cNvPr>
          <p:cNvSpPr/>
          <p:nvPr/>
        </p:nvSpPr>
        <p:spPr bwMode="auto">
          <a:xfrm>
            <a:off x="9501756" y="6483994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590" name="Group 589">
            <a:extLst>
              <a:ext uri="{FF2B5EF4-FFF2-40B4-BE49-F238E27FC236}">
                <a16:creationId xmlns:a16="http://schemas.microsoft.com/office/drawing/2014/main" id="{CDE9EA7B-9439-4965-A757-F78CBFA98C2C}"/>
              </a:ext>
            </a:extLst>
          </p:cNvPr>
          <p:cNvGrpSpPr/>
          <p:nvPr/>
        </p:nvGrpSpPr>
        <p:grpSpPr>
          <a:xfrm>
            <a:off x="4543836" y="71594"/>
            <a:ext cx="2945278" cy="1570191"/>
            <a:chOff x="1135763" y="1468064"/>
            <a:chExt cx="3797405" cy="2024478"/>
          </a:xfrm>
        </p:grpSpPr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84F23AD9-2DE8-48EC-B7D8-2764D2939611}"/>
                </a:ext>
              </a:extLst>
            </p:cNvPr>
            <p:cNvGrpSpPr/>
            <p:nvPr/>
          </p:nvGrpSpPr>
          <p:grpSpPr>
            <a:xfrm>
              <a:off x="1927591" y="2649573"/>
              <a:ext cx="413765" cy="332815"/>
              <a:chOff x="1583118" y="4005102"/>
              <a:chExt cx="413765" cy="332815"/>
            </a:xfrm>
          </p:grpSpPr>
          <p:sp>
            <p:nvSpPr>
              <p:cNvPr id="833" name="Freeform: Shape 832">
                <a:extLst>
                  <a:ext uri="{FF2B5EF4-FFF2-40B4-BE49-F238E27FC236}">
                    <a16:creationId xmlns:a16="http://schemas.microsoft.com/office/drawing/2014/main" id="{E1D1C5EA-A43B-4CAB-A384-7C9FFBA6F148}"/>
                  </a:ext>
                </a:extLst>
              </p:cNvPr>
              <p:cNvSpPr/>
              <p:nvPr/>
            </p:nvSpPr>
            <p:spPr>
              <a:xfrm>
                <a:off x="1637788" y="4170262"/>
                <a:ext cx="95912" cy="95912"/>
              </a:xfrm>
              <a:custGeom>
                <a:avLst/>
                <a:gdLst>
                  <a:gd name="connsiteX0" fmla="*/ 110107 w 95911"/>
                  <a:gd name="connsiteY0" fmla="*/ 55054 h 95911"/>
                  <a:gd name="connsiteX1" fmla="*/ 55053 w 95911"/>
                  <a:gd name="connsiteY1" fmla="*/ 110107 h 95911"/>
                  <a:gd name="connsiteX2" fmla="*/ 0 w 95911"/>
                  <a:gd name="connsiteY2" fmla="*/ 55054 h 95911"/>
                  <a:gd name="connsiteX3" fmla="*/ 55053 w 95911"/>
                  <a:gd name="connsiteY3" fmla="*/ 0 h 95911"/>
                  <a:gd name="connsiteX4" fmla="*/ 110107 w 95911"/>
                  <a:gd name="connsiteY4" fmla="*/ 55054 h 95911"/>
                  <a:gd name="connsiteX5" fmla="*/ 110107 w 95911"/>
                  <a:gd name="connsiteY5" fmla="*/ 55054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911" h="95911">
                    <a:moveTo>
                      <a:pt x="110107" y="55054"/>
                    </a:moveTo>
                    <a:cubicBezTo>
                      <a:pt x="110107" y="85362"/>
                      <a:pt x="85554" y="110107"/>
                      <a:pt x="55053" y="110107"/>
                    </a:cubicBezTo>
                    <a:cubicBezTo>
                      <a:pt x="24553" y="110107"/>
                      <a:pt x="0" y="85553"/>
                      <a:pt x="0" y="55054"/>
                    </a:cubicBezTo>
                    <a:cubicBezTo>
                      <a:pt x="0" y="24745"/>
                      <a:pt x="24553" y="0"/>
                      <a:pt x="55053" y="0"/>
                    </a:cubicBezTo>
                    <a:cubicBezTo>
                      <a:pt x="85554" y="0"/>
                      <a:pt x="110107" y="24745"/>
                      <a:pt x="110107" y="55054"/>
                    </a:cubicBezTo>
                    <a:lnTo>
                      <a:pt x="110107" y="55054"/>
                    </a:lnTo>
                    <a:close/>
                  </a:path>
                </a:pathLst>
              </a:custGeom>
              <a:noFill/>
              <a:ln w="9525" cap="sq">
                <a:solidFill>
                  <a:srgbClr val="E6E6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4" name="Freeform: Shape 833">
                <a:extLst>
                  <a:ext uri="{FF2B5EF4-FFF2-40B4-BE49-F238E27FC236}">
                    <a16:creationId xmlns:a16="http://schemas.microsoft.com/office/drawing/2014/main" id="{4FFEF934-3B9E-4675-9519-9D805588E261}"/>
                  </a:ext>
                </a:extLst>
              </p:cNvPr>
              <p:cNvSpPr/>
              <p:nvPr/>
            </p:nvSpPr>
            <p:spPr>
              <a:xfrm>
                <a:off x="1583118" y="4107728"/>
                <a:ext cx="211006" cy="230189"/>
              </a:xfrm>
              <a:custGeom>
                <a:avLst/>
                <a:gdLst>
                  <a:gd name="connsiteX0" fmla="*/ 204868 w 211006"/>
                  <a:gd name="connsiteY0" fmla="*/ 115094 h 230188"/>
                  <a:gd name="connsiteX1" fmla="*/ 200456 w 211006"/>
                  <a:gd name="connsiteY1" fmla="*/ 85745 h 230188"/>
                  <a:gd name="connsiteX2" fmla="*/ 218679 w 211006"/>
                  <a:gd name="connsiteY2" fmla="*/ 74811 h 230188"/>
                  <a:gd name="connsiteX3" fmla="*/ 198921 w 211006"/>
                  <a:gd name="connsiteY3" fmla="*/ 39708 h 230188"/>
                  <a:gd name="connsiteX4" fmla="*/ 179931 w 211006"/>
                  <a:gd name="connsiteY4" fmla="*/ 50642 h 230188"/>
                  <a:gd name="connsiteX5" fmla="*/ 129481 w 211006"/>
                  <a:gd name="connsiteY5" fmla="*/ 21292 h 230188"/>
                  <a:gd name="connsiteX6" fmla="*/ 129481 w 211006"/>
                  <a:gd name="connsiteY6" fmla="*/ 0 h 230188"/>
                  <a:gd name="connsiteX7" fmla="*/ 89198 w 211006"/>
                  <a:gd name="connsiteY7" fmla="*/ 0 h 230188"/>
                  <a:gd name="connsiteX8" fmla="*/ 89198 w 211006"/>
                  <a:gd name="connsiteY8" fmla="*/ 21292 h 230188"/>
                  <a:gd name="connsiteX9" fmla="*/ 38748 w 211006"/>
                  <a:gd name="connsiteY9" fmla="*/ 50642 h 230188"/>
                  <a:gd name="connsiteX10" fmla="*/ 19758 w 211006"/>
                  <a:gd name="connsiteY10" fmla="*/ 39708 h 230188"/>
                  <a:gd name="connsiteX11" fmla="*/ 0 w 211006"/>
                  <a:gd name="connsiteY11" fmla="*/ 74811 h 230188"/>
                  <a:gd name="connsiteX12" fmla="*/ 18223 w 211006"/>
                  <a:gd name="connsiteY12" fmla="*/ 85745 h 230188"/>
                  <a:gd name="connsiteX13" fmla="*/ 13811 w 211006"/>
                  <a:gd name="connsiteY13" fmla="*/ 115094 h 230188"/>
                  <a:gd name="connsiteX14" fmla="*/ 18223 w 211006"/>
                  <a:gd name="connsiteY14" fmla="*/ 144443 h 230188"/>
                  <a:gd name="connsiteX15" fmla="*/ 0 w 211006"/>
                  <a:gd name="connsiteY15" fmla="*/ 155378 h 230188"/>
                  <a:gd name="connsiteX16" fmla="*/ 19758 w 211006"/>
                  <a:gd name="connsiteY16" fmla="*/ 190481 h 230188"/>
                  <a:gd name="connsiteX17" fmla="*/ 38748 w 211006"/>
                  <a:gd name="connsiteY17" fmla="*/ 179547 h 230188"/>
                  <a:gd name="connsiteX18" fmla="*/ 89198 w 211006"/>
                  <a:gd name="connsiteY18" fmla="*/ 208896 h 230188"/>
                  <a:gd name="connsiteX19" fmla="*/ 89198 w 211006"/>
                  <a:gd name="connsiteY19" fmla="*/ 230189 h 230188"/>
                  <a:gd name="connsiteX20" fmla="*/ 129481 w 211006"/>
                  <a:gd name="connsiteY20" fmla="*/ 230189 h 230188"/>
                  <a:gd name="connsiteX21" fmla="*/ 129481 w 211006"/>
                  <a:gd name="connsiteY21" fmla="*/ 208896 h 230188"/>
                  <a:gd name="connsiteX22" fmla="*/ 179931 w 211006"/>
                  <a:gd name="connsiteY22" fmla="*/ 179547 h 230188"/>
                  <a:gd name="connsiteX23" fmla="*/ 198921 w 211006"/>
                  <a:gd name="connsiteY23" fmla="*/ 190481 h 230188"/>
                  <a:gd name="connsiteX24" fmla="*/ 218679 w 211006"/>
                  <a:gd name="connsiteY24" fmla="*/ 155378 h 230188"/>
                  <a:gd name="connsiteX25" fmla="*/ 200456 w 211006"/>
                  <a:gd name="connsiteY25" fmla="*/ 144443 h 230188"/>
                  <a:gd name="connsiteX26" fmla="*/ 204868 w 211006"/>
                  <a:gd name="connsiteY26" fmla="*/ 115094 h 230188"/>
                  <a:gd name="connsiteX27" fmla="*/ 204868 w 211006"/>
                  <a:gd name="connsiteY27" fmla="*/ 115094 h 230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11006" h="230188">
                    <a:moveTo>
                      <a:pt x="204868" y="115094"/>
                    </a:moveTo>
                    <a:cubicBezTo>
                      <a:pt x="204868" y="104736"/>
                      <a:pt x="203333" y="95337"/>
                      <a:pt x="200456" y="85745"/>
                    </a:cubicBezTo>
                    <a:lnTo>
                      <a:pt x="218679" y="74811"/>
                    </a:lnTo>
                    <a:lnTo>
                      <a:pt x="198921" y="39708"/>
                    </a:lnTo>
                    <a:lnTo>
                      <a:pt x="179931" y="50642"/>
                    </a:lnTo>
                    <a:cubicBezTo>
                      <a:pt x="166695" y="36063"/>
                      <a:pt x="149239" y="25704"/>
                      <a:pt x="129481" y="21292"/>
                    </a:cubicBezTo>
                    <a:lnTo>
                      <a:pt x="129481" y="0"/>
                    </a:lnTo>
                    <a:lnTo>
                      <a:pt x="89198" y="0"/>
                    </a:lnTo>
                    <a:lnTo>
                      <a:pt x="89198" y="21292"/>
                    </a:lnTo>
                    <a:cubicBezTo>
                      <a:pt x="69440" y="25704"/>
                      <a:pt x="51792" y="35871"/>
                      <a:pt x="38748" y="50642"/>
                    </a:cubicBezTo>
                    <a:lnTo>
                      <a:pt x="19758" y="39708"/>
                    </a:lnTo>
                    <a:lnTo>
                      <a:pt x="0" y="74811"/>
                    </a:lnTo>
                    <a:lnTo>
                      <a:pt x="18223" y="85745"/>
                    </a:lnTo>
                    <a:cubicBezTo>
                      <a:pt x="15346" y="95337"/>
                      <a:pt x="13811" y="104736"/>
                      <a:pt x="13811" y="115094"/>
                    </a:cubicBezTo>
                    <a:cubicBezTo>
                      <a:pt x="13811" y="125453"/>
                      <a:pt x="15346" y="134852"/>
                      <a:pt x="18223" y="144443"/>
                    </a:cubicBezTo>
                    <a:lnTo>
                      <a:pt x="0" y="155378"/>
                    </a:lnTo>
                    <a:lnTo>
                      <a:pt x="19758" y="190481"/>
                    </a:lnTo>
                    <a:lnTo>
                      <a:pt x="38748" y="179547"/>
                    </a:lnTo>
                    <a:cubicBezTo>
                      <a:pt x="51984" y="194126"/>
                      <a:pt x="69440" y="204484"/>
                      <a:pt x="89198" y="208896"/>
                    </a:cubicBezTo>
                    <a:lnTo>
                      <a:pt x="89198" y="230189"/>
                    </a:lnTo>
                    <a:lnTo>
                      <a:pt x="129481" y="230189"/>
                    </a:lnTo>
                    <a:lnTo>
                      <a:pt x="129481" y="208896"/>
                    </a:lnTo>
                    <a:cubicBezTo>
                      <a:pt x="149239" y="204484"/>
                      <a:pt x="166887" y="194318"/>
                      <a:pt x="179931" y="179547"/>
                    </a:cubicBezTo>
                    <a:lnTo>
                      <a:pt x="198921" y="190481"/>
                    </a:lnTo>
                    <a:lnTo>
                      <a:pt x="218679" y="155378"/>
                    </a:lnTo>
                    <a:lnTo>
                      <a:pt x="200456" y="144443"/>
                    </a:lnTo>
                    <a:cubicBezTo>
                      <a:pt x="203333" y="135619"/>
                      <a:pt x="204868" y="125453"/>
                      <a:pt x="204868" y="115094"/>
                    </a:cubicBezTo>
                    <a:lnTo>
                      <a:pt x="204868" y="115094"/>
                    </a:lnTo>
                    <a:close/>
                  </a:path>
                </a:pathLst>
              </a:custGeom>
              <a:noFill/>
              <a:ln w="9525" cap="sq">
                <a:solidFill>
                  <a:srgbClr val="E6E6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5" name="Freeform: Shape 834">
                <a:extLst>
                  <a:ext uri="{FF2B5EF4-FFF2-40B4-BE49-F238E27FC236}">
                    <a16:creationId xmlns:a16="http://schemas.microsoft.com/office/drawing/2014/main" id="{7DFB4595-6FA2-457C-9E25-C4380E7282BC}"/>
                  </a:ext>
                </a:extLst>
              </p:cNvPr>
              <p:cNvSpPr/>
              <p:nvPr/>
            </p:nvSpPr>
            <p:spPr>
              <a:xfrm>
                <a:off x="1863948" y="4051907"/>
                <a:ext cx="76730" cy="76730"/>
              </a:xfrm>
              <a:custGeom>
                <a:avLst/>
                <a:gdLst>
                  <a:gd name="connsiteX0" fmla="*/ 95528 w 76729"/>
                  <a:gd name="connsiteY0" fmla="*/ 43928 h 76729"/>
                  <a:gd name="connsiteX1" fmla="*/ 47764 w 76729"/>
                  <a:gd name="connsiteY1" fmla="*/ 87855 h 76729"/>
                  <a:gd name="connsiteX2" fmla="*/ 0 w 76729"/>
                  <a:gd name="connsiteY2" fmla="*/ 43928 h 76729"/>
                  <a:gd name="connsiteX3" fmla="*/ 47764 w 76729"/>
                  <a:gd name="connsiteY3" fmla="*/ 0 h 76729"/>
                  <a:gd name="connsiteX4" fmla="*/ 95528 w 76729"/>
                  <a:gd name="connsiteY4" fmla="*/ 43928 h 76729"/>
                  <a:gd name="connsiteX5" fmla="*/ 95528 w 76729"/>
                  <a:gd name="connsiteY5" fmla="*/ 43928 h 7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729" h="76729">
                    <a:moveTo>
                      <a:pt x="95528" y="43928"/>
                    </a:moveTo>
                    <a:cubicBezTo>
                      <a:pt x="95528" y="68289"/>
                      <a:pt x="74236" y="87855"/>
                      <a:pt x="47764" y="87855"/>
                    </a:cubicBezTo>
                    <a:cubicBezTo>
                      <a:pt x="21292" y="87855"/>
                      <a:pt x="0" y="68098"/>
                      <a:pt x="0" y="43928"/>
                    </a:cubicBezTo>
                    <a:cubicBezTo>
                      <a:pt x="0" y="19566"/>
                      <a:pt x="21292" y="0"/>
                      <a:pt x="47764" y="0"/>
                    </a:cubicBezTo>
                    <a:cubicBezTo>
                      <a:pt x="74236" y="0"/>
                      <a:pt x="95528" y="19758"/>
                      <a:pt x="95528" y="43928"/>
                    </a:cubicBezTo>
                    <a:lnTo>
                      <a:pt x="95528" y="43928"/>
                    </a:lnTo>
                    <a:close/>
                  </a:path>
                </a:pathLst>
              </a:custGeom>
              <a:noFill/>
              <a:ln w="9525" cap="sq">
                <a:solidFill>
                  <a:srgbClr val="E6E6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6" name="Freeform: Shape 835">
                <a:extLst>
                  <a:ext uri="{FF2B5EF4-FFF2-40B4-BE49-F238E27FC236}">
                    <a16:creationId xmlns:a16="http://schemas.microsoft.com/office/drawing/2014/main" id="{7BDBC33F-7DAE-48F1-ADF5-64AEE6E63B8B}"/>
                  </a:ext>
                </a:extLst>
              </p:cNvPr>
              <p:cNvSpPr/>
              <p:nvPr/>
            </p:nvSpPr>
            <p:spPr>
              <a:xfrm>
                <a:off x="1824241" y="4005102"/>
                <a:ext cx="172642" cy="172642"/>
              </a:xfrm>
              <a:custGeom>
                <a:avLst/>
                <a:gdLst>
                  <a:gd name="connsiteX0" fmla="*/ 162859 w 172641"/>
                  <a:gd name="connsiteY0" fmla="*/ 92075 h 172641"/>
                  <a:gd name="connsiteX1" fmla="*/ 159406 w 172641"/>
                  <a:gd name="connsiteY1" fmla="*/ 68673 h 172641"/>
                  <a:gd name="connsiteX2" fmla="*/ 173984 w 172641"/>
                  <a:gd name="connsiteY2" fmla="*/ 59849 h 172641"/>
                  <a:gd name="connsiteX3" fmla="*/ 158255 w 172641"/>
                  <a:gd name="connsiteY3" fmla="*/ 31651 h 172641"/>
                  <a:gd name="connsiteX4" fmla="*/ 143101 w 172641"/>
                  <a:gd name="connsiteY4" fmla="*/ 40475 h 172641"/>
                  <a:gd name="connsiteX5" fmla="*/ 103009 w 172641"/>
                  <a:gd name="connsiteY5" fmla="*/ 17072 h 172641"/>
                  <a:gd name="connsiteX6" fmla="*/ 103009 w 172641"/>
                  <a:gd name="connsiteY6" fmla="*/ 0 h 172641"/>
                  <a:gd name="connsiteX7" fmla="*/ 70975 w 172641"/>
                  <a:gd name="connsiteY7" fmla="*/ 0 h 172641"/>
                  <a:gd name="connsiteX8" fmla="*/ 70975 w 172641"/>
                  <a:gd name="connsiteY8" fmla="*/ 17072 h 172641"/>
                  <a:gd name="connsiteX9" fmla="*/ 30884 w 172641"/>
                  <a:gd name="connsiteY9" fmla="*/ 40475 h 172641"/>
                  <a:gd name="connsiteX10" fmla="*/ 15730 w 172641"/>
                  <a:gd name="connsiteY10" fmla="*/ 31651 h 172641"/>
                  <a:gd name="connsiteX11" fmla="*/ 0 w 172641"/>
                  <a:gd name="connsiteY11" fmla="*/ 59849 h 172641"/>
                  <a:gd name="connsiteX12" fmla="*/ 14579 w 172641"/>
                  <a:gd name="connsiteY12" fmla="*/ 68673 h 172641"/>
                  <a:gd name="connsiteX13" fmla="*/ 11126 w 172641"/>
                  <a:gd name="connsiteY13" fmla="*/ 92075 h 172641"/>
                  <a:gd name="connsiteX14" fmla="*/ 14579 w 172641"/>
                  <a:gd name="connsiteY14" fmla="*/ 115478 h 172641"/>
                  <a:gd name="connsiteX15" fmla="*/ 0 w 172641"/>
                  <a:gd name="connsiteY15" fmla="*/ 124302 h 172641"/>
                  <a:gd name="connsiteX16" fmla="*/ 15730 w 172641"/>
                  <a:gd name="connsiteY16" fmla="*/ 152500 h 172641"/>
                  <a:gd name="connsiteX17" fmla="*/ 30884 w 172641"/>
                  <a:gd name="connsiteY17" fmla="*/ 143676 h 172641"/>
                  <a:gd name="connsiteX18" fmla="*/ 70975 w 172641"/>
                  <a:gd name="connsiteY18" fmla="*/ 167079 h 172641"/>
                  <a:gd name="connsiteX19" fmla="*/ 70975 w 172641"/>
                  <a:gd name="connsiteY19" fmla="*/ 184151 h 172641"/>
                  <a:gd name="connsiteX20" fmla="*/ 103009 w 172641"/>
                  <a:gd name="connsiteY20" fmla="*/ 184151 h 172641"/>
                  <a:gd name="connsiteX21" fmla="*/ 103009 w 172641"/>
                  <a:gd name="connsiteY21" fmla="*/ 167079 h 172641"/>
                  <a:gd name="connsiteX22" fmla="*/ 143101 w 172641"/>
                  <a:gd name="connsiteY22" fmla="*/ 143676 h 172641"/>
                  <a:gd name="connsiteX23" fmla="*/ 158255 w 172641"/>
                  <a:gd name="connsiteY23" fmla="*/ 152500 h 172641"/>
                  <a:gd name="connsiteX24" fmla="*/ 173984 w 172641"/>
                  <a:gd name="connsiteY24" fmla="*/ 124302 h 172641"/>
                  <a:gd name="connsiteX25" fmla="*/ 159406 w 172641"/>
                  <a:gd name="connsiteY25" fmla="*/ 115478 h 172641"/>
                  <a:gd name="connsiteX26" fmla="*/ 162859 w 172641"/>
                  <a:gd name="connsiteY26" fmla="*/ 92075 h 172641"/>
                  <a:gd name="connsiteX27" fmla="*/ 162859 w 172641"/>
                  <a:gd name="connsiteY27" fmla="*/ 92075 h 17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2641" h="172641">
                    <a:moveTo>
                      <a:pt x="162859" y="92075"/>
                    </a:moveTo>
                    <a:cubicBezTo>
                      <a:pt x="162859" y="83827"/>
                      <a:pt x="161708" y="76154"/>
                      <a:pt x="159406" y="68673"/>
                    </a:cubicBezTo>
                    <a:lnTo>
                      <a:pt x="173984" y="59849"/>
                    </a:lnTo>
                    <a:lnTo>
                      <a:pt x="158255" y="31651"/>
                    </a:lnTo>
                    <a:lnTo>
                      <a:pt x="143101" y="40475"/>
                    </a:lnTo>
                    <a:cubicBezTo>
                      <a:pt x="132550" y="28774"/>
                      <a:pt x="118739" y="20525"/>
                      <a:pt x="103009" y="17072"/>
                    </a:cubicBezTo>
                    <a:lnTo>
                      <a:pt x="103009" y="0"/>
                    </a:lnTo>
                    <a:lnTo>
                      <a:pt x="70975" y="0"/>
                    </a:lnTo>
                    <a:lnTo>
                      <a:pt x="70975" y="17072"/>
                    </a:lnTo>
                    <a:cubicBezTo>
                      <a:pt x="55245" y="20525"/>
                      <a:pt x="41434" y="28774"/>
                      <a:pt x="30884" y="40475"/>
                    </a:cubicBezTo>
                    <a:lnTo>
                      <a:pt x="15730" y="31651"/>
                    </a:lnTo>
                    <a:lnTo>
                      <a:pt x="0" y="59849"/>
                    </a:lnTo>
                    <a:lnTo>
                      <a:pt x="14579" y="68673"/>
                    </a:lnTo>
                    <a:cubicBezTo>
                      <a:pt x="12277" y="76346"/>
                      <a:pt x="11126" y="83827"/>
                      <a:pt x="11126" y="92075"/>
                    </a:cubicBezTo>
                    <a:cubicBezTo>
                      <a:pt x="11126" y="100324"/>
                      <a:pt x="12277" y="107997"/>
                      <a:pt x="14579" y="115478"/>
                    </a:cubicBezTo>
                    <a:lnTo>
                      <a:pt x="0" y="124302"/>
                    </a:lnTo>
                    <a:lnTo>
                      <a:pt x="15730" y="152500"/>
                    </a:lnTo>
                    <a:lnTo>
                      <a:pt x="30884" y="143676"/>
                    </a:lnTo>
                    <a:cubicBezTo>
                      <a:pt x="41434" y="155377"/>
                      <a:pt x="55245" y="163626"/>
                      <a:pt x="70975" y="167079"/>
                    </a:cubicBezTo>
                    <a:lnTo>
                      <a:pt x="70975" y="184151"/>
                    </a:lnTo>
                    <a:lnTo>
                      <a:pt x="103009" y="184151"/>
                    </a:lnTo>
                    <a:lnTo>
                      <a:pt x="103009" y="167079"/>
                    </a:lnTo>
                    <a:cubicBezTo>
                      <a:pt x="118739" y="163626"/>
                      <a:pt x="132550" y="155377"/>
                      <a:pt x="143101" y="143676"/>
                    </a:cubicBezTo>
                    <a:lnTo>
                      <a:pt x="158255" y="152500"/>
                    </a:lnTo>
                    <a:lnTo>
                      <a:pt x="173984" y="124302"/>
                    </a:lnTo>
                    <a:lnTo>
                      <a:pt x="159406" y="115478"/>
                    </a:lnTo>
                    <a:cubicBezTo>
                      <a:pt x="161708" y="108381"/>
                      <a:pt x="162859" y="100132"/>
                      <a:pt x="162859" y="92075"/>
                    </a:cubicBezTo>
                    <a:lnTo>
                      <a:pt x="162859" y="92075"/>
                    </a:lnTo>
                    <a:close/>
                  </a:path>
                </a:pathLst>
              </a:custGeom>
              <a:noFill/>
              <a:ln w="9525" cap="sq">
                <a:solidFill>
                  <a:srgbClr val="E6E6E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976E6113-BE9C-4277-B7AC-43F7092468AB}"/>
                </a:ext>
              </a:extLst>
            </p:cNvPr>
            <p:cNvSpPr/>
            <p:nvPr/>
          </p:nvSpPr>
          <p:spPr>
            <a:xfrm>
              <a:off x="2139679" y="1655750"/>
              <a:ext cx="1682328" cy="854954"/>
            </a:xfrm>
            <a:custGeom>
              <a:avLst/>
              <a:gdLst>
                <a:gd name="connsiteX0" fmla="*/ 1868557 w 2340252"/>
                <a:gd name="connsiteY0" fmla="*/ 1203887 h 1189308"/>
                <a:gd name="connsiteX1" fmla="*/ 1955261 w 2340252"/>
                <a:gd name="connsiteY1" fmla="*/ 1203887 h 1189308"/>
                <a:gd name="connsiteX2" fmla="*/ 1991516 w 2340252"/>
                <a:gd name="connsiteY2" fmla="*/ 1205806 h 1189308"/>
                <a:gd name="connsiteX3" fmla="*/ 2029306 w 2340252"/>
                <a:gd name="connsiteY3" fmla="*/ 1203887 h 1189308"/>
                <a:gd name="connsiteX4" fmla="*/ 2029306 w 2340252"/>
                <a:gd name="connsiteY4" fmla="*/ 1203887 h 1189308"/>
                <a:gd name="connsiteX5" fmla="*/ 2029306 w 2340252"/>
                <a:gd name="connsiteY5" fmla="*/ 1203887 h 1189308"/>
                <a:gd name="connsiteX6" fmla="*/ 2358092 w 2340252"/>
                <a:gd name="connsiteY6" fmla="*/ 839230 h 1189308"/>
                <a:gd name="connsiteX7" fmla="*/ 1991516 w 2340252"/>
                <a:gd name="connsiteY7" fmla="*/ 472654 h 1189308"/>
                <a:gd name="connsiteX8" fmla="*/ 1923994 w 2340252"/>
                <a:gd name="connsiteY8" fmla="*/ 479176 h 1189308"/>
                <a:gd name="connsiteX9" fmla="*/ 1477428 w 2340252"/>
                <a:gd name="connsiteY9" fmla="*/ 161516 h 1189308"/>
                <a:gd name="connsiteX10" fmla="*/ 1265463 w 2340252"/>
                <a:gd name="connsiteY10" fmla="*/ 211774 h 1189308"/>
                <a:gd name="connsiteX11" fmla="*/ 871264 w 2340252"/>
                <a:gd name="connsiteY11" fmla="*/ 0 h 1189308"/>
                <a:gd name="connsiteX12" fmla="*/ 398418 w 2340252"/>
                <a:gd name="connsiteY12" fmla="*/ 472846 h 1189308"/>
                <a:gd name="connsiteX13" fmla="*/ 398418 w 2340252"/>
                <a:gd name="connsiteY13" fmla="*/ 474381 h 1189308"/>
                <a:gd name="connsiteX14" fmla="*/ 366576 w 2340252"/>
                <a:gd name="connsiteY14" fmla="*/ 472846 h 1189308"/>
                <a:gd name="connsiteX15" fmla="*/ 0 w 2340252"/>
                <a:gd name="connsiteY15" fmla="*/ 839422 h 1189308"/>
                <a:gd name="connsiteX16" fmla="*/ 366576 w 2340252"/>
                <a:gd name="connsiteY16" fmla="*/ 1205997 h 1189308"/>
                <a:gd name="connsiteX17" fmla="*/ 403022 w 2340252"/>
                <a:gd name="connsiteY17" fmla="*/ 1204079 h 1189308"/>
                <a:gd name="connsiteX18" fmla="*/ 601176 w 2340252"/>
                <a:gd name="connsiteY18" fmla="*/ 1204079 h 118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40252" h="1189308">
                  <a:moveTo>
                    <a:pt x="1868557" y="1203887"/>
                  </a:moveTo>
                  <a:lnTo>
                    <a:pt x="1955261" y="1203887"/>
                  </a:lnTo>
                  <a:cubicBezTo>
                    <a:pt x="1967154" y="1205038"/>
                    <a:pt x="1979239" y="1205806"/>
                    <a:pt x="1991516" y="1205806"/>
                  </a:cubicBezTo>
                  <a:cubicBezTo>
                    <a:pt x="2004368" y="1205806"/>
                    <a:pt x="2016837" y="1205230"/>
                    <a:pt x="2029306" y="1203887"/>
                  </a:cubicBezTo>
                  <a:lnTo>
                    <a:pt x="2029306" y="1203887"/>
                  </a:lnTo>
                  <a:lnTo>
                    <a:pt x="2029306" y="1203887"/>
                  </a:lnTo>
                  <a:cubicBezTo>
                    <a:pt x="2214032" y="1184897"/>
                    <a:pt x="2358092" y="1028944"/>
                    <a:pt x="2358092" y="839230"/>
                  </a:cubicBezTo>
                  <a:cubicBezTo>
                    <a:pt x="2358092" y="636856"/>
                    <a:pt x="2193891" y="472654"/>
                    <a:pt x="1991516" y="472654"/>
                  </a:cubicBezTo>
                  <a:cubicBezTo>
                    <a:pt x="1968497" y="472654"/>
                    <a:pt x="1945862" y="474956"/>
                    <a:pt x="1923994" y="479176"/>
                  </a:cubicBezTo>
                  <a:cubicBezTo>
                    <a:pt x="1859733" y="294258"/>
                    <a:pt x="1684214" y="161516"/>
                    <a:pt x="1477428" y="161516"/>
                  </a:cubicBezTo>
                  <a:cubicBezTo>
                    <a:pt x="1401274" y="161516"/>
                    <a:pt x="1329148" y="179739"/>
                    <a:pt x="1265463" y="211774"/>
                  </a:cubicBezTo>
                  <a:cubicBezTo>
                    <a:pt x="1180868" y="84211"/>
                    <a:pt x="1035849" y="0"/>
                    <a:pt x="871264" y="0"/>
                  </a:cubicBezTo>
                  <a:cubicBezTo>
                    <a:pt x="610192" y="0"/>
                    <a:pt x="398418" y="211582"/>
                    <a:pt x="398418" y="472846"/>
                  </a:cubicBezTo>
                  <a:cubicBezTo>
                    <a:pt x="398418" y="473422"/>
                    <a:pt x="398418" y="473997"/>
                    <a:pt x="398418" y="474381"/>
                  </a:cubicBezTo>
                  <a:cubicBezTo>
                    <a:pt x="387868" y="473422"/>
                    <a:pt x="377318" y="472846"/>
                    <a:pt x="366576" y="472846"/>
                  </a:cubicBezTo>
                  <a:cubicBezTo>
                    <a:pt x="164201" y="472846"/>
                    <a:pt x="0" y="637047"/>
                    <a:pt x="0" y="839422"/>
                  </a:cubicBezTo>
                  <a:cubicBezTo>
                    <a:pt x="0" y="1041796"/>
                    <a:pt x="164201" y="1205997"/>
                    <a:pt x="366576" y="1205997"/>
                  </a:cubicBezTo>
                  <a:cubicBezTo>
                    <a:pt x="378852" y="1205997"/>
                    <a:pt x="390937" y="1205230"/>
                    <a:pt x="403022" y="1204079"/>
                  </a:cubicBezTo>
                  <a:lnTo>
                    <a:pt x="601176" y="1204079"/>
                  </a:lnTo>
                </a:path>
              </a:pathLst>
            </a:custGeom>
            <a:noFill/>
            <a:ln w="14381" cap="sq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06F9CD4-1A45-4A08-840E-78F545A5E797}"/>
                </a:ext>
              </a:extLst>
            </p:cNvPr>
            <p:cNvSpPr/>
            <p:nvPr/>
          </p:nvSpPr>
          <p:spPr>
            <a:xfrm>
              <a:off x="3797383" y="1468064"/>
              <a:ext cx="326101" cy="306918"/>
            </a:xfrm>
            <a:custGeom>
              <a:avLst/>
              <a:gdLst>
                <a:gd name="connsiteX0" fmla="*/ 0 w 326100"/>
                <a:gd name="connsiteY0" fmla="*/ 161132 h 306918"/>
                <a:gd name="connsiteX1" fmla="*/ 165544 w 326100"/>
                <a:gd name="connsiteY1" fmla="*/ 0 h 306918"/>
                <a:gd name="connsiteX2" fmla="*/ 330129 w 326100"/>
                <a:gd name="connsiteY2" fmla="*/ 161132 h 306918"/>
                <a:gd name="connsiteX3" fmla="*/ 165544 w 326100"/>
                <a:gd name="connsiteY3" fmla="*/ 321305 h 306918"/>
                <a:gd name="connsiteX4" fmla="*/ 0 w 326100"/>
                <a:gd name="connsiteY4" fmla="*/ 161132 h 306918"/>
                <a:gd name="connsiteX5" fmla="*/ 0 w 326100"/>
                <a:gd name="connsiteY5" fmla="*/ 161132 h 306918"/>
                <a:gd name="connsiteX6" fmla="*/ 165544 w 326100"/>
                <a:gd name="connsiteY6" fmla="*/ 321305 h 306918"/>
                <a:gd name="connsiteX7" fmla="*/ 249371 w 326100"/>
                <a:gd name="connsiteY7" fmla="*/ 161132 h 306918"/>
                <a:gd name="connsiteX8" fmla="*/ 165544 w 326100"/>
                <a:gd name="connsiteY8" fmla="*/ 0 h 306918"/>
                <a:gd name="connsiteX9" fmla="*/ 80758 w 326100"/>
                <a:gd name="connsiteY9" fmla="*/ 161132 h 306918"/>
                <a:gd name="connsiteX10" fmla="*/ 165544 w 326100"/>
                <a:gd name="connsiteY10" fmla="*/ 321305 h 306918"/>
                <a:gd name="connsiteX11" fmla="*/ 165544 w 326100"/>
                <a:gd name="connsiteY11" fmla="*/ 321305 h 306918"/>
                <a:gd name="connsiteX12" fmla="*/ 7865 w 326100"/>
                <a:gd name="connsiteY12" fmla="*/ 111258 h 306918"/>
                <a:gd name="connsiteX13" fmla="*/ 322264 w 326100"/>
                <a:gd name="connsiteY13" fmla="*/ 111258 h 306918"/>
                <a:gd name="connsiteX14" fmla="*/ 8824 w 326100"/>
                <a:gd name="connsiteY14" fmla="*/ 211965 h 306918"/>
                <a:gd name="connsiteX15" fmla="*/ 321305 w 326100"/>
                <a:gd name="connsiteY15" fmla="*/ 211965 h 30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6100" h="306918">
                  <a:moveTo>
                    <a:pt x="0" y="161132"/>
                  </a:moveTo>
                  <a:cubicBezTo>
                    <a:pt x="0" y="71934"/>
                    <a:pt x="73852" y="0"/>
                    <a:pt x="165544" y="0"/>
                  </a:cubicBezTo>
                  <a:cubicBezTo>
                    <a:pt x="256277" y="0"/>
                    <a:pt x="330129" y="71934"/>
                    <a:pt x="330129" y="161132"/>
                  </a:cubicBezTo>
                  <a:cubicBezTo>
                    <a:pt x="330129" y="249371"/>
                    <a:pt x="256277" y="321305"/>
                    <a:pt x="165544" y="321305"/>
                  </a:cubicBezTo>
                  <a:cubicBezTo>
                    <a:pt x="73852" y="321305"/>
                    <a:pt x="0" y="249371"/>
                    <a:pt x="0" y="161132"/>
                  </a:cubicBezTo>
                  <a:lnTo>
                    <a:pt x="0" y="161132"/>
                  </a:lnTo>
                  <a:close/>
                  <a:moveTo>
                    <a:pt x="165544" y="321305"/>
                  </a:moveTo>
                  <a:cubicBezTo>
                    <a:pt x="211965" y="321305"/>
                    <a:pt x="249371" y="249371"/>
                    <a:pt x="249371" y="161132"/>
                  </a:cubicBezTo>
                  <a:cubicBezTo>
                    <a:pt x="249371" y="71934"/>
                    <a:pt x="211965" y="0"/>
                    <a:pt x="165544" y="0"/>
                  </a:cubicBezTo>
                  <a:cubicBezTo>
                    <a:pt x="118163" y="0"/>
                    <a:pt x="80758" y="71934"/>
                    <a:pt x="80758" y="161132"/>
                  </a:cubicBezTo>
                  <a:cubicBezTo>
                    <a:pt x="80758" y="249371"/>
                    <a:pt x="118163" y="321305"/>
                    <a:pt x="165544" y="321305"/>
                  </a:cubicBezTo>
                  <a:lnTo>
                    <a:pt x="165544" y="321305"/>
                  </a:lnTo>
                  <a:close/>
                  <a:moveTo>
                    <a:pt x="7865" y="111258"/>
                  </a:moveTo>
                  <a:cubicBezTo>
                    <a:pt x="322264" y="111258"/>
                    <a:pt x="322264" y="111258"/>
                    <a:pt x="322264" y="111258"/>
                  </a:cubicBezTo>
                  <a:moveTo>
                    <a:pt x="8824" y="211965"/>
                  </a:moveTo>
                  <a:cubicBezTo>
                    <a:pt x="321305" y="211965"/>
                    <a:pt x="321305" y="211965"/>
                    <a:pt x="321305" y="211965"/>
                  </a:cubicBezTo>
                </a:path>
              </a:pathLst>
            </a:custGeom>
            <a:noFill/>
            <a:ln w="9525" cap="sq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9B1E645A-EC0D-4DCE-A89B-814ACA6A1F42}"/>
                </a:ext>
              </a:extLst>
            </p:cNvPr>
            <p:cNvSpPr/>
            <p:nvPr/>
          </p:nvSpPr>
          <p:spPr>
            <a:xfrm>
              <a:off x="1260552" y="1623511"/>
              <a:ext cx="364466" cy="249371"/>
            </a:xfrm>
            <a:custGeom>
              <a:avLst/>
              <a:gdLst>
                <a:gd name="connsiteX0" fmla="*/ 192 w 364465"/>
                <a:gd name="connsiteY0" fmla="*/ 12085 h 249371"/>
                <a:gd name="connsiteX1" fmla="*/ 12469 w 364465"/>
                <a:gd name="connsiteY1" fmla="*/ 0 h 249371"/>
                <a:gd name="connsiteX2" fmla="*/ 103777 w 364465"/>
                <a:gd name="connsiteY2" fmla="*/ 0 h 249371"/>
                <a:gd name="connsiteX3" fmla="*/ 134277 w 364465"/>
                <a:gd name="connsiteY3" fmla="*/ 12085 h 249371"/>
                <a:gd name="connsiteX4" fmla="*/ 164777 w 364465"/>
                <a:gd name="connsiteY4" fmla="*/ 24170 h 249371"/>
                <a:gd name="connsiteX5" fmla="*/ 353723 w 364465"/>
                <a:gd name="connsiteY5" fmla="*/ 24170 h 249371"/>
                <a:gd name="connsiteX6" fmla="*/ 365808 w 364465"/>
                <a:gd name="connsiteY6" fmla="*/ 36255 h 249371"/>
                <a:gd name="connsiteX7" fmla="*/ 365808 w 364465"/>
                <a:gd name="connsiteY7" fmla="*/ 266252 h 249371"/>
                <a:gd name="connsiteX8" fmla="*/ 0 w 364465"/>
                <a:gd name="connsiteY8" fmla="*/ 266252 h 249371"/>
                <a:gd name="connsiteX9" fmla="*/ 0 w 364465"/>
                <a:gd name="connsiteY9" fmla="*/ 12085 h 249371"/>
                <a:gd name="connsiteX10" fmla="*/ 192 w 364465"/>
                <a:gd name="connsiteY10" fmla="*/ 12085 h 249371"/>
                <a:gd name="connsiteX11" fmla="*/ 192 w 364465"/>
                <a:gd name="connsiteY11" fmla="*/ 12085 h 249371"/>
                <a:gd name="connsiteX12" fmla="*/ 192 w 364465"/>
                <a:gd name="connsiteY12" fmla="*/ 48340 h 249371"/>
                <a:gd name="connsiteX13" fmla="*/ 103777 w 364465"/>
                <a:gd name="connsiteY13" fmla="*/ 48340 h 249371"/>
                <a:gd name="connsiteX14" fmla="*/ 134277 w 364465"/>
                <a:gd name="connsiteY14" fmla="*/ 36255 h 249371"/>
                <a:gd name="connsiteX15" fmla="*/ 164777 w 364465"/>
                <a:gd name="connsiteY15" fmla="*/ 24170 h 24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4465" h="249371">
                  <a:moveTo>
                    <a:pt x="192" y="12085"/>
                  </a:moveTo>
                  <a:cubicBezTo>
                    <a:pt x="192" y="5371"/>
                    <a:pt x="5563" y="0"/>
                    <a:pt x="12469" y="0"/>
                  </a:cubicBezTo>
                  <a:cubicBezTo>
                    <a:pt x="103777" y="0"/>
                    <a:pt x="103777" y="0"/>
                    <a:pt x="103777" y="0"/>
                  </a:cubicBezTo>
                  <a:cubicBezTo>
                    <a:pt x="115670" y="0"/>
                    <a:pt x="126412" y="4604"/>
                    <a:pt x="134277" y="12085"/>
                  </a:cubicBezTo>
                  <a:cubicBezTo>
                    <a:pt x="142142" y="19566"/>
                    <a:pt x="152884" y="24170"/>
                    <a:pt x="164777" y="24170"/>
                  </a:cubicBezTo>
                  <a:cubicBezTo>
                    <a:pt x="353723" y="24170"/>
                    <a:pt x="353723" y="24170"/>
                    <a:pt x="353723" y="24170"/>
                  </a:cubicBezTo>
                  <a:cubicBezTo>
                    <a:pt x="360437" y="24170"/>
                    <a:pt x="365808" y="29541"/>
                    <a:pt x="365808" y="36255"/>
                  </a:cubicBezTo>
                  <a:cubicBezTo>
                    <a:pt x="365808" y="266252"/>
                    <a:pt x="365808" y="266252"/>
                    <a:pt x="365808" y="266252"/>
                  </a:cubicBezTo>
                  <a:cubicBezTo>
                    <a:pt x="0" y="266252"/>
                    <a:pt x="0" y="266252"/>
                    <a:pt x="0" y="266252"/>
                  </a:cubicBezTo>
                  <a:lnTo>
                    <a:pt x="0" y="12085"/>
                  </a:lnTo>
                  <a:lnTo>
                    <a:pt x="192" y="12085"/>
                  </a:lnTo>
                  <a:lnTo>
                    <a:pt x="192" y="12085"/>
                  </a:lnTo>
                  <a:close/>
                  <a:moveTo>
                    <a:pt x="192" y="48340"/>
                  </a:moveTo>
                  <a:cubicBezTo>
                    <a:pt x="103777" y="48340"/>
                    <a:pt x="103777" y="48340"/>
                    <a:pt x="103777" y="48340"/>
                  </a:cubicBezTo>
                  <a:cubicBezTo>
                    <a:pt x="115670" y="48340"/>
                    <a:pt x="126412" y="43736"/>
                    <a:pt x="134277" y="36255"/>
                  </a:cubicBezTo>
                  <a:cubicBezTo>
                    <a:pt x="142142" y="28774"/>
                    <a:pt x="152884" y="24170"/>
                    <a:pt x="164777" y="24170"/>
                  </a:cubicBezTo>
                </a:path>
              </a:pathLst>
            </a:custGeom>
            <a:noFill/>
            <a:ln w="9525" cap="sq">
              <a:solidFill>
                <a:srgbClr val="E6E6E6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114AB8C-6B6B-467C-A3DF-12C2DD2C96BA}"/>
                </a:ext>
              </a:extLst>
            </p:cNvPr>
            <p:cNvSpPr/>
            <p:nvPr/>
          </p:nvSpPr>
          <p:spPr>
            <a:xfrm>
              <a:off x="3691917" y="2728481"/>
              <a:ext cx="218043" cy="305260"/>
            </a:xfrm>
            <a:custGeom>
              <a:avLst/>
              <a:gdLst>
                <a:gd name="connsiteX0" fmla="*/ 293299 w 287735"/>
                <a:gd name="connsiteY0" fmla="*/ 413764 h 402830"/>
                <a:gd name="connsiteX1" fmla="*/ 0 w 287735"/>
                <a:gd name="connsiteY1" fmla="*/ 413764 h 402830"/>
                <a:gd name="connsiteX2" fmla="*/ 0 w 287735"/>
                <a:gd name="connsiteY2" fmla="*/ 193934 h 402830"/>
                <a:gd name="connsiteX3" fmla="*/ 293299 w 287735"/>
                <a:gd name="connsiteY3" fmla="*/ 193934 h 402830"/>
                <a:gd name="connsiteX4" fmla="*/ 293299 w 287735"/>
                <a:gd name="connsiteY4" fmla="*/ 413764 h 402830"/>
                <a:gd name="connsiteX5" fmla="*/ 293299 w 287735"/>
                <a:gd name="connsiteY5" fmla="*/ 413764 h 402830"/>
                <a:gd name="connsiteX6" fmla="*/ 293299 w 287735"/>
                <a:gd name="connsiteY6" fmla="*/ 413764 h 402830"/>
                <a:gd name="connsiteX7" fmla="*/ 240547 w 287735"/>
                <a:gd name="connsiteY7" fmla="*/ 193934 h 402830"/>
                <a:gd name="connsiteX8" fmla="*/ 240547 w 287735"/>
                <a:gd name="connsiteY8" fmla="*/ 92651 h 402830"/>
                <a:gd name="connsiteX9" fmla="*/ 148472 w 287735"/>
                <a:gd name="connsiteY9" fmla="*/ 0 h 402830"/>
                <a:gd name="connsiteX10" fmla="*/ 56396 w 287735"/>
                <a:gd name="connsiteY10" fmla="*/ 92651 h 402830"/>
                <a:gd name="connsiteX11" fmla="*/ 56396 w 287735"/>
                <a:gd name="connsiteY11" fmla="*/ 193934 h 402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735" h="402830">
                  <a:moveTo>
                    <a:pt x="293299" y="413764"/>
                  </a:moveTo>
                  <a:cubicBezTo>
                    <a:pt x="0" y="413764"/>
                    <a:pt x="0" y="413764"/>
                    <a:pt x="0" y="413764"/>
                  </a:cubicBezTo>
                  <a:cubicBezTo>
                    <a:pt x="0" y="193934"/>
                    <a:pt x="0" y="193934"/>
                    <a:pt x="0" y="193934"/>
                  </a:cubicBezTo>
                  <a:cubicBezTo>
                    <a:pt x="293299" y="193934"/>
                    <a:pt x="293299" y="193934"/>
                    <a:pt x="293299" y="193934"/>
                  </a:cubicBezTo>
                  <a:lnTo>
                    <a:pt x="293299" y="413764"/>
                  </a:lnTo>
                  <a:lnTo>
                    <a:pt x="293299" y="413764"/>
                  </a:lnTo>
                  <a:lnTo>
                    <a:pt x="293299" y="413764"/>
                  </a:lnTo>
                  <a:close/>
                  <a:moveTo>
                    <a:pt x="240547" y="193934"/>
                  </a:moveTo>
                  <a:cubicBezTo>
                    <a:pt x="240547" y="92651"/>
                    <a:pt x="240547" y="92651"/>
                    <a:pt x="240547" y="92651"/>
                  </a:cubicBezTo>
                  <a:cubicBezTo>
                    <a:pt x="240547" y="42009"/>
                    <a:pt x="200073" y="0"/>
                    <a:pt x="148472" y="0"/>
                  </a:cubicBezTo>
                  <a:cubicBezTo>
                    <a:pt x="96871" y="0"/>
                    <a:pt x="56396" y="42009"/>
                    <a:pt x="56396" y="92651"/>
                  </a:cubicBezTo>
                  <a:cubicBezTo>
                    <a:pt x="56396" y="193934"/>
                    <a:pt x="56396" y="193934"/>
                    <a:pt x="56396" y="193934"/>
                  </a:cubicBezTo>
                </a:path>
              </a:pathLst>
            </a:custGeom>
            <a:noFill/>
            <a:ln w="9525" cap="sq">
              <a:solidFill>
                <a:srgbClr val="F2F2F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98" name="Group 597">
              <a:extLst>
                <a:ext uri="{FF2B5EF4-FFF2-40B4-BE49-F238E27FC236}">
                  <a16:creationId xmlns:a16="http://schemas.microsoft.com/office/drawing/2014/main" id="{939D3CB4-CE7F-4F65-BFAE-0222D4842A47}"/>
                </a:ext>
              </a:extLst>
            </p:cNvPr>
            <p:cNvGrpSpPr/>
            <p:nvPr/>
          </p:nvGrpSpPr>
          <p:grpSpPr>
            <a:xfrm>
              <a:off x="1135763" y="2221515"/>
              <a:ext cx="678290" cy="235943"/>
              <a:chOff x="1104901" y="3511731"/>
              <a:chExt cx="678290" cy="235943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826" name="Freeform: Shape 825">
                <a:extLst>
                  <a:ext uri="{FF2B5EF4-FFF2-40B4-BE49-F238E27FC236}">
                    <a16:creationId xmlns:a16="http://schemas.microsoft.com/office/drawing/2014/main" id="{F9FE2E50-B58A-413F-920B-338084F0D389}"/>
                  </a:ext>
                </a:extLst>
              </p:cNvPr>
              <p:cNvSpPr/>
              <p:nvPr/>
            </p:nvSpPr>
            <p:spPr>
              <a:xfrm>
                <a:off x="1104901" y="3511731"/>
                <a:ext cx="95912" cy="95912"/>
              </a:xfrm>
              <a:custGeom>
                <a:avLst/>
                <a:gdLst>
                  <a:gd name="connsiteX0" fmla="*/ 100132 w 95911"/>
                  <a:gd name="connsiteY0" fmla="*/ 9207 h 95911"/>
                  <a:gd name="connsiteX1" fmla="*/ 100132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132 w 95911"/>
                  <a:gd name="connsiteY4" fmla="*/ 9207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207"/>
                    </a:moveTo>
                    <a:lnTo>
                      <a:pt x="100132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132" y="9207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7" name="Freeform: Shape 826">
                <a:extLst>
                  <a:ext uri="{FF2B5EF4-FFF2-40B4-BE49-F238E27FC236}">
                    <a16:creationId xmlns:a16="http://schemas.microsoft.com/office/drawing/2014/main" id="{12F99E3C-8738-450B-A315-3000A9E5C47B}"/>
                  </a:ext>
                </a:extLst>
              </p:cNvPr>
              <p:cNvSpPr/>
              <p:nvPr/>
            </p:nvSpPr>
            <p:spPr>
              <a:xfrm>
                <a:off x="1250495" y="3511731"/>
                <a:ext cx="95912" cy="95912"/>
              </a:xfrm>
              <a:custGeom>
                <a:avLst/>
                <a:gdLst>
                  <a:gd name="connsiteX0" fmla="*/ 100324 w 95911"/>
                  <a:gd name="connsiteY0" fmla="*/ 9207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324 w 95911"/>
                  <a:gd name="connsiteY4" fmla="*/ 9207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340 w 95911"/>
                  <a:gd name="connsiteY8" fmla="*/ 109531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7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324" y="9207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340" y="109531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8" name="Freeform: Shape 827">
                <a:extLst>
                  <a:ext uri="{FF2B5EF4-FFF2-40B4-BE49-F238E27FC236}">
                    <a16:creationId xmlns:a16="http://schemas.microsoft.com/office/drawing/2014/main" id="{86C7EB22-DF28-4E56-A369-54DCF7AA1FE0}"/>
                  </a:ext>
                </a:extLst>
              </p:cNvPr>
              <p:cNvSpPr/>
              <p:nvPr/>
            </p:nvSpPr>
            <p:spPr>
              <a:xfrm>
                <a:off x="1687279" y="3511731"/>
                <a:ext cx="95912" cy="95912"/>
              </a:xfrm>
              <a:custGeom>
                <a:avLst/>
                <a:gdLst>
                  <a:gd name="connsiteX0" fmla="*/ 100324 w 95911"/>
                  <a:gd name="connsiteY0" fmla="*/ 9207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324 w 95911"/>
                  <a:gd name="connsiteY4" fmla="*/ 9207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7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324" y="9207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9" name="Freeform: Shape 828">
                <a:extLst>
                  <a:ext uri="{FF2B5EF4-FFF2-40B4-BE49-F238E27FC236}">
                    <a16:creationId xmlns:a16="http://schemas.microsoft.com/office/drawing/2014/main" id="{F6DF67C9-38FA-40A0-885A-4B94F98C0AAB}"/>
                  </a:ext>
                </a:extLst>
              </p:cNvPr>
              <p:cNvSpPr/>
              <p:nvPr/>
            </p:nvSpPr>
            <p:spPr>
              <a:xfrm>
                <a:off x="1104901" y="3651762"/>
                <a:ext cx="95912" cy="95912"/>
              </a:xfrm>
              <a:custGeom>
                <a:avLst/>
                <a:gdLst>
                  <a:gd name="connsiteX0" fmla="*/ 100132 w 95911"/>
                  <a:gd name="connsiteY0" fmla="*/ 9208 h 95911"/>
                  <a:gd name="connsiteX1" fmla="*/ 100132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208 h 95911"/>
                  <a:gd name="connsiteX4" fmla="*/ 100132 w 95911"/>
                  <a:gd name="connsiteY4" fmla="*/ 9208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1 w 95911"/>
                  <a:gd name="connsiteY8" fmla="*/ 109532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208"/>
                    </a:moveTo>
                    <a:lnTo>
                      <a:pt x="100132" y="100324"/>
                    </a:lnTo>
                    <a:lnTo>
                      <a:pt x="9208" y="100324"/>
                    </a:lnTo>
                    <a:lnTo>
                      <a:pt x="9208" y="9208"/>
                    </a:lnTo>
                    <a:lnTo>
                      <a:pt x="100132" y="9208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1" y="109532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0" name="Freeform: Shape 829">
                <a:extLst>
                  <a:ext uri="{FF2B5EF4-FFF2-40B4-BE49-F238E27FC236}">
                    <a16:creationId xmlns:a16="http://schemas.microsoft.com/office/drawing/2014/main" id="{D6E4207E-5146-4E51-9C9F-D023EE0D8F91}"/>
                  </a:ext>
                </a:extLst>
              </p:cNvPr>
              <p:cNvSpPr/>
              <p:nvPr/>
            </p:nvSpPr>
            <p:spPr>
              <a:xfrm>
                <a:off x="1396282" y="3651762"/>
                <a:ext cx="95912" cy="95912"/>
              </a:xfrm>
              <a:custGeom>
                <a:avLst/>
                <a:gdLst>
                  <a:gd name="connsiteX0" fmla="*/ 100132 w 95911"/>
                  <a:gd name="connsiteY0" fmla="*/ 9208 h 95911"/>
                  <a:gd name="connsiteX1" fmla="*/ 100132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208 h 95911"/>
                  <a:gd name="connsiteX4" fmla="*/ 100132 w 95911"/>
                  <a:gd name="connsiteY4" fmla="*/ 9208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340 w 95911"/>
                  <a:gd name="connsiteY8" fmla="*/ 109532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208"/>
                    </a:moveTo>
                    <a:lnTo>
                      <a:pt x="100132" y="100324"/>
                    </a:lnTo>
                    <a:lnTo>
                      <a:pt x="9208" y="100324"/>
                    </a:lnTo>
                    <a:lnTo>
                      <a:pt x="9208" y="9208"/>
                    </a:lnTo>
                    <a:lnTo>
                      <a:pt x="100132" y="9208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340" y="109532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1" name="Freeform: Shape 830">
                <a:extLst>
                  <a:ext uri="{FF2B5EF4-FFF2-40B4-BE49-F238E27FC236}">
                    <a16:creationId xmlns:a16="http://schemas.microsoft.com/office/drawing/2014/main" id="{0F85B216-2EBC-4969-8C61-C6B8C24DB52D}"/>
                  </a:ext>
                </a:extLst>
              </p:cNvPr>
              <p:cNvSpPr/>
              <p:nvPr/>
            </p:nvSpPr>
            <p:spPr>
              <a:xfrm>
                <a:off x="1541684" y="3651762"/>
                <a:ext cx="95912" cy="95912"/>
              </a:xfrm>
              <a:custGeom>
                <a:avLst/>
                <a:gdLst>
                  <a:gd name="connsiteX0" fmla="*/ 100324 w 95911"/>
                  <a:gd name="connsiteY0" fmla="*/ 9208 h 95911"/>
                  <a:gd name="connsiteX1" fmla="*/ 100324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208 h 95911"/>
                  <a:gd name="connsiteX4" fmla="*/ 100324 w 95911"/>
                  <a:gd name="connsiteY4" fmla="*/ 9208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1 w 95911"/>
                  <a:gd name="connsiteY8" fmla="*/ 109532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8"/>
                    </a:moveTo>
                    <a:lnTo>
                      <a:pt x="100324" y="100324"/>
                    </a:lnTo>
                    <a:lnTo>
                      <a:pt x="9208" y="100324"/>
                    </a:lnTo>
                    <a:lnTo>
                      <a:pt x="9208" y="9208"/>
                    </a:lnTo>
                    <a:lnTo>
                      <a:pt x="100324" y="9208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1" y="109532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32" name="Freeform: Shape 831">
                <a:extLst>
                  <a:ext uri="{FF2B5EF4-FFF2-40B4-BE49-F238E27FC236}">
                    <a16:creationId xmlns:a16="http://schemas.microsoft.com/office/drawing/2014/main" id="{D6E0EDCC-BD73-4D6B-9F0D-393BD9B6A587}"/>
                  </a:ext>
                </a:extLst>
              </p:cNvPr>
              <p:cNvSpPr/>
              <p:nvPr/>
            </p:nvSpPr>
            <p:spPr>
              <a:xfrm>
                <a:off x="1687279" y="3651762"/>
                <a:ext cx="95912" cy="95912"/>
              </a:xfrm>
              <a:custGeom>
                <a:avLst/>
                <a:gdLst>
                  <a:gd name="connsiteX0" fmla="*/ 100324 w 95911"/>
                  <a:gd name="connsiteY0" fmla="*/ 9208 h 95911"/>
                  <a:gd name="connsiteX1" fmla="*/ 100324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208 h 95911"/>
                  <a:gd name="connsiteX4" fmla="*/ 100324 w 95911"/>
                  <a:gd name="connsiteY4" fmla="*/ 9208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1 w 95911"/>
                  <a:gd name="connsiteY8" fmla="*/ 109532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8"/>
                    </a:moveTo>
                    <a:lnTo>
                      <a:pt x="100324" y="100324"/>
                    </a:lnTo>
                    <a:lnTo>
                      <a:pt x="9208" y="100324"/>
                    </a:lnTo>
                    <a:lnTo>
                      <a:pt x="9208" y="9208"/>
                    </a:lnTo>
                    <a:lnTo>
                      <a:pt x="100324" y="9208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1" y="109532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3" name="Group 602">
              <a:extLst>
                <a:ext uri="{FF2B5EF4-FFF2-40B4-BE49-F238E27FC236}">
                  <a16:creationId xmlns:a16="http://schemas.microsoft.com/office/drawing/2014/main" id="{13D08410-2D8A-4052-AF9E-C4C9B9136ADE}"/>
                </a:ext>
              </a:extLst>
            </p:cNvPr>
            <p:cNvGrpSpPr/>
            <p:nvPr/>
          </p:nvGrpSpPr>
          <p:grpSpPr>
            <a:xfrm>
              <a:off x="2430600" y="2997587"/>
              <a:ext cx="455245" cy="158312"/>
              <a:chOff x="2047908" y="4614527"/>
              <a:chExt cx="678481" cy="235943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819" name="Freeform: Shape 818">
                <a:extLst>
                  <a:ext uri="{FF2B5EF4-FFF2-40B4-BE49-F238E27FC236}">
                    <a16:creationId xmlns:a16="http://schemas.microsoft.com/office/drawing/2014/main" id="{D22775DE-430D-4FE4-ABE9-1A2607A6D2E1}"/>
                  </a:ext>
                </a:extLst>
              </p:cNvPr>
              <p:cNvSpPr/>
              <p:nvPr/>
            </p:nvSpPr>
            <p:spPr>
              <a:xfrm>
                <a:off x="2047908" y="4614527"/>
                <a:ext cx="95912" cy="95912"/>
              </a:xfrm>
              <a:custGeom>
                <a:avLst/>
                <a:gdLst>
                  <a:gd name="connsiteX0" fmla="*/ 100324 w 95911"/>
                  <a:gd name="connsiteY0" fmla="*/ 9207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324 w 95911"/>
                  <a:gd name="connsiteY4" fmla="*/ 9207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1 w 95911"/>
                  <a:gd name="connsiteY8" fmla="*/ 109532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7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324" y="9207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1" y="109532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0" name="Freeform: Shape 819">
                <a:extLst>
                  <a:ext uri="{FF2B5EF4-FFF2-40B4-BE49-F238E27FC236}">
                    <a16:creationId xmlns:a16="http://schemas.microsoft.com/office/drawing/2014/main" id="{EC56490A-7128-4C21-B516-FDB55B4A25C3}"/>
                  </a:ext>
                </a:extLst>
              </p:cNvPr>
              <p:cNvSpPr/>
              <p:nvPr/>
            </p:nvSpPr>
            <p:spPr>
              <a:xfrm>
                <a:off x="2193694" y="4614527"/>
                <a:ext cx="95912" cy="95912"/>
              </a:xfrm>
              <a:custGeom>
                <a:avLst/>
                <a:gdLst>
                  <a:gd name="connsiteX0" fmla="*/ 100132 w 95911"/>
                  <a:gd name="connsiteY0" fmla="*/ 9207 h 95911"/>
                  <a:gd name="connsiteX1" fmla="*/ 100132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132 w 95911"/>
                  <a:gd name="connsiteY4" fmla="*/ 9207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340 w 95911"/>
                  <a:gd name="connsiteY8" fmla="*/ 109532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207"/>
                    </a:moveTo>
                    <a:lnTo>
                      <a:pt x="100132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132" y="9207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340" y="109532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1" name="Freeform: Shape 820">
                <a:extLst>
                  <a:ext uri="{FF2B5EF4-FFF2-40B4-BE49-F238E27FC236}">
                    <a16:creationId xmlns:a16="http://schemas.microsoft.com/office/drawing/2014/main" id="{2FFEABF7-9A48-4082-8C66-30F8C9DAAAD6}"/>
                  </a:ext>
                </a:extLst>
              </p:cNvPr>
              <p:cNvSpPr/>
              <p:nvPr/>
            </p:nvSpPr>
            <p:spPr>
              <a:xfrm>
                <a:off x="2630477" y="4614527"/>
                <a:ext cx="95912" cy="95912"/>
              </a:xfrm>
              <a:custGeom>
                <a:avLst/>
                <a:gdLst>
                  <a:gd name="connsiteX0" fmla="*/ 100324 w 95911"/>
                  <a:gd name="connsiteY0" fmla="*/ 9207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207 h 95911"/>
                  <a:gd name="connsiteX4" fmla="*/ 100324 w 95911"/>
                  <a:gd name="connsiteY4" fmla="*/ 9207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1 w 95911"/>
                  <a:gd name="connsiteY8" fmla="*/ 109532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7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207"/>
                    </a:lnTo>
                    <a:lnTo>
                      <a:pt x="100324" y="9207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1" y="109532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2" name="Freeform: Shape 821">
                <a:extLst>
                  <a:ext uri="{FF2B5EF4-FFF2-40B4-BE49-F238E27FC236}">
                    <a16:creationId xmlns:a16="http://schemas.microsoft.com/office/drawing/2014/main" id="{1A6791DD-4DE1-4006-AD6F-979C475F66EF}"/>
                  </a:ext>
                </a:extLst>
              </p:cNvPr>
              <p:cNvSpPr/>
              <p:nvPr/>
            </p:nvSpPr>
            <p:spPr>
              <a:xfrm>
                <a:off x="2047908" y="4754558"/>
                <a:ext cx="95912" cy="95912"/>
              </a:xfrm>
              <a:custGeom>
                <a:avLst/>
                <a:gdLst>
                  <a:gd name="connsiteX0" fmla="*/ 100324 w 95911"/>
                  <a:gd name="connsiteY0" fmla="*/ 9016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016 h 95911"/>
                  <a:gd name="connsiteX4" fmla="*/ 100324 w 95911"/>
                  <a:gd name="connsiteY4" fmla="*/ 9016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016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016"/>
                    </a:lnTo>
                    <a:lnTo>
                      <a:pt x="100324" y="9016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3" name="Freeform: Shape 822">
                <a:extLst>
                  <a:ext uri="{FF2B5EF4-FFF2-40B4-BE49-F238E27FC236}">
                    <a16:creationId xmlns:a16="http://schemas.microsoft.com/office/drawing/2014/main" id="{57D8A74B-5655-4CA2-92D0-1C35C2F6CD56}"/>
                  </a:ext>
                </a:extLst>
              </p:cNvPr>
              <p:cNvSpPr/>
              <p:nvPr/>
            </p:nvSpPr>
            <p:spPr>
              <a:xfrm>
                <a:off x="2339288" y="4754558"/>
                <a:ext cx="95912" cy="95912"/>
              </a:xfrm>
              <a:custGeom>
                <a:avLst/>
                <a:gdLst>
                  <a:gd name="connsiteX0" fmla="*/ 100132 w 95911"/>
                  <a:gd name="connsiteY0" fmla="*/ 9016 h 95911"/>
                  <a:gd name="connsiteX1" fmla="*/ 100132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016 h 95911"/>
                  <a:gd name="connsiteX4" fmla="*/ 100132 w 95911"/>
                  <a:gd name="connsiteY4" fmla="*/ 9016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340 w 95911"/>
                  <a:gd name="connsiteY8" fmla="*/ 109531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016"/>
                    </a:moveTo>
                    <a:lnTo>
                      <a:pt x="100132" y="100132"/>
                    </a:lnTo>
                    <a:lnTo>
                      <a:pt x="9208" y="100132"/>
                    </a:lnTo>
                    <a:lnTo>
                      <a:pt x="9208" y="9016"/>
                    </a:lnTo>
                    <a:lnTo>
                      <a:pt x="100132" y="9016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340" y="109531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4" name="Freeform: Shape 823">
                <a:extLst>
                  <a:ext uri="{FF2B5EF4-FFF2-40B4-BE49-F238E27FC236}">
                    <a16:creationId xmlns:a16="http://schemas.microsoft.com/office/drawing/2014/main" id="{0108931C-F139-4E02-BBE0-287CA43FB61E}"/>
                  </a:ext>
                </a:extLst>
              </p:cNvPr>
              <p:cNvSpPr/>
              <p:nvPr/>
            </p:nvSpPr>
            <p:spPr>
              <a:xfrm>
                <a:off x="2484691" y="4754558"/>
                <a:ext cx="95912" cy="95912"/>
              </a:xfrm>
              <a:custGeom>
                <a:avLst/>
                <a:gdLst>
                  <a:gd name="connsiteX0" fmla="*/ 100324 w 95911"/>
                  <a:gd name="connsiteY0" fmla="*/ 9016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016 h 95911"/>
                  <a:gd name="connsiteX4" fmla="*/ 100324 w 95911"/>
                  <a:gd name="connsiteY4" fmla="*/ 9016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016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016"/>
                    </a:lnTo>
                    <a:lnTo>
                      <a:pt x="100324" y="9016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5" name="Freeform: Shape 824">
                <a:extLst>
                  <a:ext uri="{FF2B5EF4-FFF2-40B4-BE49-F238E27FC236}">
                    <a16:creationId xmlns:a16="http://schemas.microsoft.com/office/drawing/2014/main" id="{886EDC10-FB82-4BD3-BF16-584A94AE22F8}"/>
                  </a:ext>
                </a:extLst>
              </p:cNvPr>
              <p:cNvSpPr/>
              <p:nvPr/>
            </p:nvSpPr>
            <p:spPr>
              <a:xfrm>
                <a:off x="2630477" y="4754558"/>
                <a:ext cx="95912" cy="95912"/>
              </a:xfrm>
              <a:custGeom>
                <a:avLst/>
                <a:gdLst>
                  <a:gd name="connsiteX0" fmla="*/ 100324 w 95911"/>
                  <a:gd name="connsiteY0" fmla="*/ 9016 h 95911"/>
                  <a:gd name="connsiteX1" fmla="*/ 100324 w 95911"/>
                  <a:gd name="connsiteY1" fmla="*/ 100132 h 95911"/>
                  <a:gd name="connsiteX2" fmla="*/ 9208 w 95911"/>
                  <a:gd name="connsiteY2" fmla="*/ 100132 h 95911"/>
                  <a:gd name="connsiteX3" fmla="*/ 9208 w 95911"/>
                  <a:gd name="connsiteY3" fmla="*/ 9016 h 95911"/>
                  <a:gd name="connsiteX4" fmla="*/ 100324 w 95911"/>
                  <a:gd name="connsiteY4" fmla="*/ 9016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016"/>
                    </a:moveTo>
                    <a:lnTo>
                      <a:pt x="100324" y="100132"/>
                    </a:lnTo>
                    <a:lnTo>
                      <a:pt x="9208" y="100132"/>
                    </a:lnTo>
                    <a:lnTo>
                      <a:pt x="9208" y="9016"/>
                    </a:lnTo>
                    <a:lnTo>
                      <a:pt x="100324" y="9016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4" name="Group 603">
              <a:extLst>
                <a:ext uri="{FF2B5EF4-FFF2-40B4-BE49-F238E27FC236}">
                  <a16:creationId xmlns:a16="http://schemas.microsoft.com/office/drawing/2014/main" id="{3B71B0E9-24C5-4D83-BB8D-9DB6B134A3CB}"/>
                </a:ext>
              </a:extLst>
            </p:cNvPr>
            <p:cNvGrpSpPr/>
            <p:nvPr/>
          </p:nvGrpSpPr>
          <p:grpSpPr>
            <a:xfrm>
              <a:off x="4217722" y="2486487"/>
              <a:ext cx="678481" cy="235943"/>
              <a:chOff x="4786386" y="3237998"/>
              <a:chExt cx="678481" cy="235943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812" name="Freeform: Shape 811">
                <a:extLst>
                  <a:ext uri="{FF2B5EF4-FFF2-40B4-BE49-F238E27FC236}">
                    <a16:creationId xmlns:a16="http://schemas.microsoft.com/office/drawing/2014/main" id="{A9063D8C-72FF-4060-96DD-B5C5D26DD4BC}"/>
                  </a:ext>
                </a:extLst>
              </p:cNvPr>
              <p:cNvSpPr/>
              <p:nvPr/>
            </p:nvSpPr>
            <p:spPr>
              <a:xfrm>
                <a:off x="4786386" y="3237998"/>
                <a:ext cx="95912" cy="95912"/>
              </a:xfrm>
              <a:custGeom>
                <a:avLst/>
                <a:gdLst>
                  <a:gd name="connsiteX0" fmla="*/ 100324 w 95911"/>
                  <a:gd name="connsiteY0" fmla="*/ 9399 h 95911"/>
                  <a:gd name="connsiteX1" fmla="*/ 100324 w 95911"/>
                  <a:gd name="connsiteY1" fmla="*/ 100324 h 95911"/>
                  <a:gd name="connsiteX2" fmla="*/ 9207 w 95911"/>
                  <a:gd name="connsiteY2" fmla="*/ 100324 h 95911"/>
                  <a:gd name="connsiteX3" fmla="*/ 9207 w 95911"/>
                  <a:gd name="connsiteY3" fmla="*/ 9399 h 95911"/>
                  <a:gd name="connsiteX4" fmla="*/ 100324 w 95911"/>
                  <a:gd name="connsiteY4" fmla="*/ 9399 h 95911"/>
                  <a:gd name="connsiteX5" fmla="*/ 109532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2 w 95911"/>
                  <a:gd name="connsiteY8" fmla="*/ 109532 h 95911"/>
                  <a:gd name="connsiteX9" fmla="*/ 109532 w 95911"/>
                  <a:gd name="connsiteY9" fmla="*/ 0 h 95911"/>
                  <a:gd name="connsiteX10" fmla="*/ 109532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399"/>
                    </a:moveTo>
                    <a:lnTo>
                      <a:pt x="100324" y="100324"/>
                    </a:lnTo>
                    <a:lnTo>
                      <a:pt x="9207" y="100324"/>
                    </a:lnTo>
                    <a:lnTo>
                      <a:pt x="9207" y="9399"/>
                    </a:lnTo>
                    <a:lnTo>
                      <a:pt x="100324" y="9399"/>
                    </a:lnTo>
                    <a:moveTo>
                      <a:pt x="109532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2" y="109532"/>
                    </a:lnTo>
                    <a:lnTo>
                      <a:pt x="109532" y="0"/>
                    </a:lnTo>
                    <a:lnTo>
                      <a:pt x="109532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3" name="Freeform: Shape 812">
                <a:extLst>
                  <a:ext uri="{FF2B5EF4-FFF2-40B4-BE49-F238E27FC236}">
                    <a16:creationId xmlns:a16="http://schemas.microsoft.com/office/drawing/2014/main" id="{862A3B1B-4C75-4E25-BDE0-AB647C13C4DB}"/>
                  </a:ext>
                </a:extLst>
              </p:cNvPr>
              <p:cNvSpPr/>
              <p:nvPr/>
            </p:nvSpPr>
            <p:spPr>
              <a:xfrm>
                <a:off x="4932172" y="3237998"/>
                <a:ext cx="95912" cy="95912"/>
              </a:xfrm>
              <a:custGeom>
                <a:avLst/>
                <a:gdLst>
                  <a:gd name="connsiteX0" fmla="*/ 100132 w 95911"/>
                  <a:gd name="connsiteY0" fmla="*/ 9399 h 95911"/>
                  <a:gd name="connsiteX1" fmla="*/ 100132 w 95911"/>
                  <a:gd name="connsiteY1" fmla="*/ 100324 h 95911"/>
                  <a:gd name="connsiteX2" fmla="*/ 9207 w 95911"/>
                  <a:gd name="connsiteY2" fmla="*/ 100324 h 95911"/>
                  <a:gd name="connsiteX3" fmla="*/ 9207 w 95911"/>
                  <a:gd name="connsiteY3" fmla="*/ 9399 h 95911"/>
                  <a:gd name="connsiteX4" fmla="*/ 100132 w 95911"/>
                  <a:gd name="connsiteY4" fmla="*/ 9399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340 w 95911"/>
                  <a:gd name="connsiteY8" fmla="*/ 109532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399"/>
                    </a:moveTo>
                    <a:lnTo>
                      <a:pt x="100132" y="100324"/>
                    </a:lnTo>
                    <a:lnTo>
                      <a:pt x="9207" y="100324"/>
                    </a:lnTo>
                    <a:lnTo>
                      <a:pt x="9207" y="9399"/>
                    </a:lnTo>
                    <a:lnTo>
                      <a:pt x="100132" y="9399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340" y="109532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4" name="Freeform: Shape 813">
                <a:extLst>
                  <a:ext uri="{FF2B5EF4-FFF2-40B4-BE49-F238E27FC236}">
                    <a16:creationId xmlns:a16="http://schemas.microsoft.com/office/drawing/2014/main" id="{F5657ED7-350C-4B48-83B3-BFD193350957}"/>
                  </a:ext>
                </a:extLst>
              </p:cNvPr>
              <p:cNvSpPr/>
              <p:nvPr/>
            </p:nvSpPr>
            <p:spPr>
              <a:xfrm>
                <a:off x="5368955" y="3237998"/>
                <a:ext cx="95912" cy="95912"/>
              </a:xfrm>
              <a:custGeom>
                <a:avLst/>
                <a:gdLst>
                  <a:gd name="connsiteX0" fmla="*/ 100324 w 95911"/>
                  <a:gd name="connsiteY0" fmla="*/ 9399 h 95911"/>
                  <a:gd name="connsiteX1" fmla="*/ 100324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399 h 95911"/>
                  <a:gd name="connsiteX4" fmla="*/ 100324 w 95911"/>
                  <a:gd name="connsiteY4" fmla="*/ 9399 h 95911"/>
                  <a:gd name="connsiteX5" fmla="*/ 109532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2 h 95911"/>
                  <a:gd name="connsiteX8" fmla="*/ 109532 w 95911"/>
                  <a:gd name="connsiteY8" fmla="*/ 109532 h 95911"/>
                  <a:gd name="connsiteX9" fmla="*/ 109532 w 95911"/>
                  <a:gd name="connsiteY9" fmla="*/ 0 h 95911"/>
                  <a:gd name="connsiteX10" fmla="*/ 109532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399"/>
                    </a:moveTo>
                    <a:lnTo>
                      <a:pt x="100324" y="100324"/>
                    </a:lnTo>
                    <a:lnTo>
                      <a:pt x="9208" y="100324"/>
                    </a:lnTo>
                    <a:lnTo>
                      <a:pt x="9208" y="9399"/>
                    </a:lnTo>
                    <a:lnTo>
                      <a:pt x="100324" y="9399"/>
                    </a:lnTo>
                    <a:moveTo>
                      <a:pt x="109532" y="0"/>
                    </a:moveTo>
                    <a:lnTo>
                      <a:pt x="0" y="0"/>
                    </a:lnTo>
                    <a:lnTo>
                      <a:pt x="0" y="109532"/>
                    </a:lnTo>
                    <a:lnTo>
                      <a:pt x="109532" y="109532"/>
                    </a:lnTo>
                    <a:lnTo>
                      <a:pt x="109532" y="0"/>
                    </a:lnTo>
                    <a:lnTo>
                      <a:pt x="109532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5" name="Freeform: Shape 814">
                <a:extLst>
                  <a:ext uri="{FF2B5EF4-FFF2-40B4-BE49-F238E27FC236}">
                    <a16:creationId xmlns:a16="http://schemas.microsoft.com/office/drawing/2014/main" id="{EB917E4C-C976-46FB-BCBB-CC13F38192D2}"/>
                  </a:ext>
                </a:extLst>
              </p:cNvPr>
              <p:cNvSpPr/>
              <p:nvPr/>
            </p:nvSpPr>
            <p:spPr>
              <a:xfrm>
                <a:off x="4786386" y="3378029"/>
                <a:ext cx="95912" cy="95912"/>
              </a:xfrm>
              <a:custGeom>
                <a:avLst/>
                <a:gdLst>
                  <a:gd name="connsiteX0" fmla="*/ 100324 w 95911"/>
                  <a:gd name="connsiteY0" fmla="*/ 9208 h 95911"/>
                  <a:gd name="connsiteX1" fmla="*/ 100324 w 95911"/>
                  <a:gd name="connsiteY1" fmla="*/ 100324 h 95911"/>
                  <a:gd name="connsiteX2" fmla="*/ 9207 w 95911"/>
                  <a:gd name="connsiteY2" fmla="*/ 100324 h 95911"/>
                  <a:gd name="connsiteX3" fmla="*/ 9207 w 95911"/>
                  <a:gd name="connsiteY3" fmla="*/ 9208 h 95911"/>
                  <a:gd name="connsiteX4" fmla="*/ 100324 w 95911"/>
                  <a:gd name="connsiteY4" fmla="*/ 9208 h 95911"/>
                  <a:gd name="connsiteX5" fmla="*/ 109532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2 w 95911"/>
                  <a:gd name="connsiteY8" fmla="*/ 109531 h 95911"/>
                  <a:gd name="connsiteX9" fmla="*/ 109532 w 95911"/>
                  <a:gd name="connsiteY9" fmla="*/ 0 h 95911"/>
                  <a:gd name="connsiteX10" fmla="*/ 109532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8"/>
                    </a:moveTo>
                    <a:lnTo>
                      <a:pt x="100324" y="100324"/>
                    </a:lnTo>
                    <a:lnTo>
                      <a:pt x="9207" y="100324"/>
                    </a:lnTo>
                    <a:lnTo>
                      <a:pt x="9207" y="9208"/>
                    </a:lnTo>
                    <a:lnTo>
                      <a:pt x="100324" y="9208"/>
                    </a:lnTo>
                    <a:moveTo>
                      <a:pt x="109532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2" y="109531"/>
                    </a:lnTo>
                    <a:lnTo>
                      <a:pt x="109532" y="0"/>
                    </a:lnTo>
                    <a:lnTo>
                      <a:pt x="109532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6" name="Freeform: Shape 815">
                <a:extLst>
                  <a:ext uri="{FF2B5EF4-FFF2-40B4-BE49-F238E27FC236}">
                    <a16:creationId xmlns:a16="http://schemas.microsoft.com/office/drawing/2014/main" id="{67D9C89F-031B-430D-996F-3DF9383C1732}"/>
                  </a:ext>
                </a:extLst>
              </p:cNvPr>
              <p:cNvSpPr/>
              <p:nvPr/>
            </p:nvSpPr>
            <p:spPr>
              <a:xfrm>
                <a:off x="5077767" y="3378029"/>
                <a:ext cx="95912" cy="95912"/>
              </a:xfrm>
              <a:custGeom>
                <a:avLst/>
                <a:gdLst>
                  <a:gd name="connsiteX0" fmla="*/ 100132 w 95911"/>
                  <a:gd name="connsiteY0" fmla="*/ 9208 h 95911"/>
                  <a:gd name="connsiteX1" fmla="*/ 100132 w 95911"/>
                  <a:gd name="connsiteY1" fmla="*/ 100324 h 95911"/>
                  <a:gd name="connsiteX2" fmla="*/ 9207 w 95911"/>
                  <a:gd name="connsiteY2" fmla="*/ 100324 h 95911"/>
                  <a:gd name="connsiteX3" fmla="*/ 9207 w 95911"/>
                  <a:gd name="connsiteY3" fmla="*/ 9208 h 95911"/>
                  <a:gd name="connsiteX4" fmla="*/ 100132 w 95911"/>
                  <a:gd name="connsiteY4" fmla="*/ 9208 h 95911"/>
                  <a:gd name="connsiteX5" fmla="*/ 109340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340 w 95911"/>
                  <a:gd name="connsiteY8" fmla="*/ 109531 h 95911"/>
                  <a:gd name="connsiteX9" fmla="*/ 109340 w 95911"/>
                  <a:gd name="connsiteY9" fmla="*/ 0 h 95911"/>
                  <a:gd name="connsiteX10" fmla="*/ 109340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132" y="9208"/>
                    </a:moveTo>
                    <a:lnTo>
                      <a:pt x="100132" y="100324"/>
                    </a:lnTo>
                    <a:lnTo>
                      <a:pt x="9207" y="100324"/>
                    </a:lnTo>
                    <a:lnTo>
                      <a:pt x="9207" y="9208"/>
                    </a:lnTo>
                    <a:lnTo>
                      <a:pt x="100132" y="9208"/>
                    </a:lnTo>
                    <a:moveTo>
                      <a:pt x="109340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340" y="109531"/>
                    </a:lnTo>
                    <a:lnTo>
                      <a:pt x="109340" y="0"/>
                    </a:lnTo>
                    <a:lnTo>
                      <a:pt x="109340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7" name="Freeform: Shape 816">
                <a:extLst>
                  <a:ext uri="{FF2B5EF4-FFF2-40B4-BE49-F238E27FC236}">
                    <a16:creationId xmlns:a16="http://schemas.microsoft.com/office/drawing/2014/main" id="{9ACED701-E763-43A8-A02C-F744BFFB3233}"/>
                  </a:ext>
                </a:extLst>
              </p:cNvPr>
              <p:cNvSpPr/>
              <p:nvPr/>
            </p:nvSpPr>
            <p:spPr>
              <a:xfrm>
                <a:off x="5223169" y="3378029"/>
                <a:ext cx="95912" cy="95912"/>
              </a:xfrm>
              <a:custGeom>
                <a:avLst/>
                <a:gdLst>
                  <a:gd name="connsiteX0" fmla="*/ 100324 w 95911"/>
                  <a:gd name="connsiteY0" fmla="*/ 9208 h 95911"/>
                  <a:gd name="connsiteX1" fmla="*/ 100324 w 95911"/>
                  <a:gd name="connsiteY1" fmla="*/ 100324 h 95911"/>
                  <a:gd name="connsiteX2" fmla="*/ 9207 w 95911"/>
                  <a:gd name="connsiteY2" fmla="*/ 100324 h 95911"/>
                  <a:gd name="connsiteX3" fmla="*/ 9207 w 95911"/>
                  <a:gd name="connsiteY3" fmla="*/ 9208 h 95911"/>
                  <a:gd name="connsiteX4" fmla="*/ 100324 w 95911"/>
                  <a:gd name="connsiteY4" fmla="*/ 9208 h 95911"/>
                  <a:gd name="connsiteX5" fmla="*/ 109531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1 w 95911"/>
                  <a:gd name="connsiteY8" fmla="*/ 109531 h 95911"/>
                  <a:gd name="connsiteX9" fmla="*/ 109531 w 95911"/>
                  <a:gd name="connsiteY9" fmla="*/ 0 h 95911"/>
                  <a:gd name="connsiteX10" fmla="*/ 109531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8"/>
                    </a:moveTo>
                    <a:lnTo>
                      <a:pt x="100324" y="100324"/>
                    </a:lnTo>
                    <a:lnTo>
                      <a:pt x="9207" y="100324"/>
                    </a:lnTo>
                    <a:lnTo>
                      <a:pt x="9207" y="9208"/>
                    </a:lnTo>
                    <a:lnTo>
                      <a:pt x="100324" y="9208"/>
                    </a:lnTo>
                    <a:moveTo>
                      <a:pt x="109531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1" y="109531"/>
                    </a:lnTo>
                    <a:lnTo>
                      <a:pt x="109531" y="0"/>
                    </a:lnTo>
                    <a:lnTo>
                      <a:pt x="109531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8" name="Freeform: Shape 817">
                <a:extLst>
                  <a:ext uri="{FF2B5EF4-FFF2-40B4-BE49-F238E27FC236}">
                    <a16:creationId xmlns:a16="http://schemas.microsoft.com/office/drawing/2014/main" id="{EC5DE14C-4925-4127-8400-0ED19D76A57B}"/>
                  </a:ext>
                </a:extLst>
              </p:cNvPr>
              <p:cNvSpPr/>
              <p:nvPr/>
            </p:nvSpPr>
            <p:spPr>
              <a:xfrm>
                <a:off x="5368955" y="3378029"/>
                <a:ext cx="95912" cy="95912"/>
              </a:xfrm>
              <a:custGeom>
                <a:avLst/>
                <a:gdLst>
                  <a:gd name="connsiteX0" fmla="*/ 100324 w 95911"/>
                  <a:gd name="connsiteY0" fmla="*/ 9208 h 95911"/>
                  <a:gd name="connsiteX1" fmla="*/ 100324 w 95911"/>
                  <a:gd name="connsiteY1" fmla="*/ 100324 h 95911"/>
                  <a:gd name="connsiteX2" fmla="*/ 9208 w 95911"/>
                  <a:gd name="connsiteY2" fmla="*/ 100324 h 95911"/>
                  <a:gd name="connsiteX3" fmla="*/ 9208 w 95911"/>
                  <a:gd name="connsiteY3" fmla="*/ 9208 h 95911"/>
                  <a:gd name="connsiteX4" fmla="*/ 100324 w 95911"/>
                  <a:gd name="connsiteY4" fmla="*/ 9208 h 95911"/>
                  <a:gd name="connsiteX5" fmla="*/ 109532 w 95911"/>
                  <a:gd name="connsiteY5" fmla="*/ 0 h 95911"/>
                  <a:gd name="connsiteX6" fmla="*/ 0 w 95911"/>
                  <a:gd name="connsiteY6" fmla="*/ 0 h 95911"/>
                  <a:gd name="connsiteX7" fmla="*/ 0 w 95911"/>
                  <a:gd name="connsiteY7" fmla="*/ 109531 h 95911"/>
                  <a:gd name="connsiteX8" fmla="*/ 109532 w 95911"/>
                  <a:gd name="connsiteY8" fmla="*/ 109531 h 95911"/>
                  <a:gd name="connsiteX9" fmla="*/ 109532 w 95911"/>
                  <a:gd name="connsiteY9" fmla="*/ 0 h 95911"/>
                  <a:gd name="connsiteX10" fmla="*/ 109532 w 95911"/>
                  <a:gd name="connsiteY10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5911" h="95911">
                    <a:moveTo>
                      <a:pt x="100324" y="9208"/>
                    </a:moveTo>
                    <a:lnTo>
                      <a:pt x="100324" y="100324"/>
                    </a:lnTo>
                    <a:lnTo>
                      <a:pt x="9208" y="100324"/>
                    </a:lnTo>
                    <a:lnTo>
                      <a:pt x="9208" y="9208"/>
                    </a:lnTo>
                    <a:lnTo>
                      <a:pt x="100324" y="9208"/>
                    </a:lnTo>
                    <a:moveTo>
                      <a:pt x="109532" y="0"/>
                    </a:moveTo>
                    <a:lnTo>
                      <a:pt x="0" y="0"/>
                    </a:lnTo>
                    <a:lnTo>
                      <a:pt x="0" y="109531"/>
                    </a:lnTo>
                    <a:lnTo>
                      <a:pt x="109532" y="109531"/>
                    </a:lnTo>
                    <a:lnTo>
                      <a:pt x="109532" y="0"/>
                    </a:lnTo>
                    <a:lnTo>
                      <a:pt x="109532" y="0"/>
                    </a:ln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5" name="Group 604">
              <a:extLst>
                <a:ext uri="{FF2B5EF4-FFF2-40B4-BE49-F238E27FC236}">
                  <a16:creationId xmlns:a16="http://schemas.microsoft.com/office/drawing/2014/main" id="{3813B4B5-3DEA-4C19-8604-72AF2FE5B74A}"/>
                </a:ext>
              </a:extLst>
            </p:cNvPr>
            <p:cNvGrpSpPr/>
            <p:nvPr/>
          </p:nvGrpSpPr>
          <p:grpSpPr>
            <a:xfrm>
              <a:off x="1611405" y="2629952"/>
              <a:ext cx="173216" cy="634745"/>
              <a:chOff x="1451719" y="2875067"/>
              <a:chExt cx="173216" cy="634745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776" name="Freeform: Shape 775">
                <a:extLst>
                  <a:ext uri="{FF2B5EF4-FFF2-40B4-BE49-F238E27FC236}">
                    <a16:creationId xmlns:a16="http://schemas.microsoft.com/office/drawing/2014/main" id="{C94BDB49-9805-4AF1-BB2F-DDD19C3EE455}"/>
                  </a:ext>
                </a:extLst>
              </p:cNvPr>
              <p:cNvSpPr/>
              <p:nvPr/>
            </p:nvSpPr>
            <p:spPr>
              <a:xfrm>
                <a:off x="1451719" y="287506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7" name="Freeform: Shape 776">
                <a:extLst>
                  <a:ext uri="{FF2B5EF4-FFF2-40B4-BE49-F238E27FC236}">
                    <a16:creationId xmlns:a16="http://schemas.microsoft.com/office/drawing/2014/main" id="{AE74CCFB-F433-4246-84CD-F4E36642B09C}"/>
                  </a:ext>
                </a:extLst>
              </p:cNvPr>
              <p:cNvSpPr/>
              <p:nvPr/>
            </p:nvSpPr>
            <p:spPr>
              <a:xfrm>
                <a:off x="1528832" y="287506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9" name="Freeform: Shape 778">
                <a:extLst>
                  <a:ext uri="{FF2B5EF4-FFF2-40B4-BE49-F238E27FC236}">
                    <a16:creationId xmlns:a16="http://schemas.microsoft.com/office/drawing/2014/main" id="{ECD31B19-57C6-4275-9321-BC8E5CE3DDE5}"/>
                  </a:ext>
                </a:extLst>
              </p:cNvPr>
              <p:cNvSpPr/>
              <p:nvPr/>
            </p:nvSpPr>
            <p:spPr>
              <a:xfrm>
                <a:off x="1605753" y="287506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0" name="Freeform: Shape 779">
                <a:extLst>
                  <a:ext uri="{FF2B5EF4-FFF2-40B4-BE49-F238E27FC236}">
                    <a16:creationId xmlns:a16="http://schemas.microsoft.com/office/drawing/2014/main" id="{DF313690-4383-4A61-AD75-CB38794DA672}"/>
                  </a:ext>
                </a:extLst>
              </p:cNvPr>
              <p:cNvSpPr/>
              <p:nvPr/>
            </p:nvSpPr>
            <p:spPr>
              <a:xfrm>
                <a:off x="1451719" y="295198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142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2" name="Freeform: Shape 781">
                <a:extLst>
                  <a:ext uri="{FF2B5EF4-FFF2-40B4-BE49-F238E27FC236}">
                    <a16:creationId xmlns:a16="http://schemas.microsoft.com/office/drawing/2014/main" id="{44626E37-4093-4A58-9742-1B0795F2E449}"/>
                  </a:ext>
                </a:extLst>
              </p:cNvPr>
              <p:cNvSpPr/>
              <p:nvPr/>
            </p:nvSpPr>
            <p:spPr>
              <a:xfrm>
                <a:off x="1528832" y="295198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6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3" name="Freeform: Shape 782">
                <a:extLst>
                  <a:ext uri="{FF2B5EF4-FFF2-40B4-BE49-F238E27FC236}">
                    <a16:creationId xmlns:a16="http://schemas.microsoft.com/office/drawing/2014/main" id="{F6DB18CF-B60E-4905-88A9-25D914B372E5}"/>
                  </a:ext>
                </a:extLst>
              </p:cNvPr>
              <p:cNvSpPr/>
              <p:nvPr/>
            </p:nvSpPr>
            <p:spPr>
              <a:xfrm>
                <a:off x="1605753" y="295198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5" name="Freeform: Shape 784">
                <a:extLst>
                  <a:ext uri="{FF2B5EF4-FFF2-40B4-BE49-F238E27FC236}">
                    <a16:creationId xmlns:a16="http://schemas.microsoft.com/office/drawing/2014/main" id="{2ABD6C99-F750-4CE2-ABA6-FC4EEB0C295B}"/>
                  </a:ext>
                </a:extLst>
              </p:cNvPr>
              <p:cNvSpPr/>
              <p:nvPr/>
            </p:nvSpPr>
            <p:spPr>
              <a:xfrm>
                <a:off x="1451719" y="302891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6" name="Freeform: Shape 785">
                <a:extLst>
                  <a:ext uri="{FF2B5EF4-FFF2-40B4-BE49-F238E27FC236}">
                    <a16:creationId xmlns:a16="http://schemas.microsoft.com/office/drawing/2014/main" id="{C9416B40-3135-4113-8328-A8ED4FEF2066}"/>
                  </a:ext>
                </a:extLst>
              </p:cNvPr>
              <p:cNvSpPr/>
              <p:nvPr/>
            </p:nvSpPr>
            <p:spPr>
              <a:xfrm>
                <a:off x="1528832" y="302891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8" name="Freeform: Shape 787">
                <a:extLst>
                  <a:ext uri="{FF2B5EF4-FFF2-40B4-BE49-F238E27FC236}">
                    <a16:creationId xmlns:a16="http://schemas.microsoft.com/office/drawing/2014/main" id="{685985ED-3500-429E-9EFE-68A85D449B73}"/>
                  </a:ext>
                </a:extLst>
              </p:cNvPr>
              <p:cNvSpPr/>
              <p:nvPr/>
            </p:nvSpPr>
            <p:spPr>
              <a:xfrm>
                <a:off x="1605753" y="302891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89" name="Freeform: Shape 788">
                <a:extLst>
                  <a:ext uri="{FF2B5EF4-FFF2-40B4-BE49-F238E27FC236}">
                    <a16:creationId xmlns:a16="http://schemas.microsoft.com/office/drawing/2014/main" id="{E7E01E1B-EE6E-456B-83FC-DAB492372EAB}"/>
                  </a:ext>
                </a:extLst>
              </p:cNvPr>
              <p:cNvSpPr/>
              <p:nvPr/>
            </p:nvSpPr>
            <p:spPr>
              <a:xfrm>
                <a:off x="1451719" y="310583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1" name="Freeform: Shape 790">
                <a:extLst>
                  <a:ext uri="{FF2B5EF4-FFF2-40B4-BE49-F238E27FC236}">
                    <a16:creationId xmlns:a16="http://schemas.microsoft.com/office/drawing/2014/main" id="{6209BC2A-510D-43CB-9386-79D939E8C5EA}"/>
                  </a:ext>
                </a:extLst>
              </p:cNvPr>
              <p:cNvSpPr/>
              <p:nvPr/>
            </p:nvSpPr>
            <p:spPr>
              <a:xfrm>
                <a:off x="1528832" y="310583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2" name="Freeform: Shape 791">
                <a:extLst>
                  <a:ext uri="{FF2B5EF4-FFF2-40B4-BE49-F238E27FC236}">
                    <a16:creationId xmlns:a16="http://schemas.microsoft.com/office/drawing/2014/main" id="{A6EE14FE-F492-412E-892E-1780DEF3F625}"/>
                  </a:ext>
                </a:extLst>
              </p:cNvPr>
              <p:cNvSpPr/>
              <p:nvPr/>
            </p:nvSpPr>
            <p:spPr>
              <a:xfrm>
                <a:off x="1605753" y="310583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3" name="Freeform: Shape 792">
                <a:extLst>
                  <a:ext uri="{FF2B5EF4-FFF2-40B4-BE49-F238E27FC236}">
                    <a16:creationId xmlns:a16="http://schemas.microsoft.com/office/drawing/2014/main" id="{D4A0207B-D073-48A7-B77C-273E116C0449}"/>
                  </a:ext>
                </a:extLst>
              </p:cNvPr>
              <p:cNvSpPr/>
              <p:nvPr/>
            </p:nvSpPr>
            <p:spPr>
              <a:xfrm>
                <a:off x="1451719" y="318275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4" name="Freeform: Shape 793">
                <a:extLst>
                  <a:ext uri="{FF2B5EF4-FFF2-40B4-BE49-F238E27FC236}">
                    <a16:creationId xmlns:a16="http://schemas.microsoft.com/office/drawing/2014/main" id="{7CADA1E3-3056-4C96-9799-1FE92EEE84F8}"/>
                  </a:ext>
                </a:extLst>
              </p:cNvPr>
              <p:cNvSpPr/>
              <p:nvPr/>
            </p:nvSpPr>
            <p:spPr>
              <a:xfrm>
                <a:off x="1528832" y="318275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6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5" name="Freeform: Shape 794">
                <a:extLst>
                  <a:ext uri="{FF2B5EF4-FFF2-40B4-BE49-F238E27FC236}">
                    <a16:creationId xmlns:a16="http://schemas.microsoft.com/office/drawing/2014/main" id="{B665A0A2-018D-42CC-AE6D-188145ED472A}"/>
                  </a:ext>
                </a:extLst>
              </p:cNvPr>
              <p:cNvSpPr/>
              <p:nvPr/>
            </p:nvSpPr>
            <p:spPr>
              <a:xfrm>
                <a:off x="1605753" y="318275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6" name="Freeform: Shape 795">
                <a:extLst>
                  <a:ext uri="{FF2B5EF4-FFF2-40B4-BE49-F238E27FC236}">
                    <a16:creationId xmlns:a16="http://schemas.microsoft.com/office/drawing/2014/main" id="{26293F99-B73A-4972-A530-2D6D91B7A0DE}"/>
                  </a:ext>
                </a:extLst>
              </p:cNvPr>
              <p:cNvSpPr/>
              <p:nvPr/>
            </p:nvSpPr>
            <p:spPr>
              <a:xfrm>
                <a:off x="1451719" y="325967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7" name="Freeform: Shape 796">
                <a:extLst>
                  <a:ext uri="{FF2B5EF4-FFF2-40B4-BE49-F238E27FC236}">
                    <a16:creationId xmlns:a16="http://schemas.microsoft.com/office/drawing/2014/main" id="{83DD94A7-E7E7-42EA-8569-3360A25A995B}"/>
                  </a:ext>
                </a:extLst>
              </p:cNvPr>
              <p:cNvSpPr/>
              <p:nvPr/>
            </p:nvSpPr>
            <p:spPr>
              <a:xfrm>
                <a:off x="1528832" y="325967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98" name="Freeform: Shape 797">
                <a:extLst>
                  <a:ext uri="{FF2B5EF4-FFF2-40B4-BE49-F238E27FC236}">
                    <a16:creationId xmlns:a16="http://schemas.microsoft.com/office/drawing/2014/main" id="{D492F5CD-697A-4838-856F-B0445CA089DB}"/>
                  </a:ext>
                </a:extLst>
              </p:cNvPr>
              <p:cNvSpPr/>
              <p:nvPr/>
            </p:nvSpPr>
            <p:spPr>
              <a:xfrm>
                <a:off x="1605753" y="325967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0" name="Freeform: Shape 799">
                <a:extLst>
                  <a:ext uri="{FF2B5EF4-FFF2-40B4-BE49-F238E27FC236}">
                    <a16:creationId xmlns:a16="http://schemas.microsoft.com/office/drawing/2014/main" id="{23C493CF-09C2-454A-A7D6-A884B44D4388}"/>
                  </a:ext>
                </a:extLst>
              </p:cNvPr>
              <p:cNvSpPr/>
              <p:nvPr/>
            </p:nvSpPr>
            <p:spPr>
              <a:xfrm>
                <a:off x="1451719" y="333678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142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2" name="Freeform: Shape 801">
                <a:extLst>
                  <a:ext uri="{FF2B5EF4-FFF2-40B4-BE49-F238E27FC236}">
                    <a16:creationId xmlns:a16="http://schemas.microsoft.com/office/drawing/2014/main" id="{931294B1-0930-408B-BAA0-11D9746D079E}"/>
                  </a:ext>
                </a:extLst>
              </p:cNvPr>
              <p:cNvSpPr/>
              <p:nvPr/>
            </p:nvSpPr>
            <p:spPr>
              <a:xfrm>
                <a:off x="1528832" y="333678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4" name="Freeform: Shape 803">
                <a:extLst>
                  <a:ext uri="{FF2B5EF4-FFF2-40B4-BE49-F238E27FC236}">
                    <a16:creationId xmlns:a16="http://schemas.microsoft.com/office/drawing/2014/main" id="{444F7BAA-9DD8-4C3B-B970-78813BC26401}"/>
                  </a:ext>
                </a:extLst>
              </p:cNvPr>
              <p:cNvSpPr/>
              <p:nvPr/>
            </p:nvSpPr>
            <p:spPr>
              <a:xfrm>
                <a:off x="1605753" y="333678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6" name="Freeform: Shape 805">
                <a:extLst>
                  <a:ext uri="{FF2B5EF4-FFF2-40B4-BE49-F238E27FC236}">
                    <a16:creationId xmlns:a16="http://schemas.microsoft.com/office/drawing/2014/main" id="{4721578C-D618-4E4F-B42F-9EB42B9EE37F}"/>
                  </a:ext>
                </a:extLst>
              </p:cNvPr>
              <p:cNvSpPr/>
              <p:nvPr/>
            </p:nvSpPr>
            <p:spPr>
              <a:xfrm>
                <a:off x="1451719" y="341370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142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7" name="Freeform: Shape 806">
                <a:extLst>
                  <a:ext uri="{FF2B5EF4-FFF2-40B4-BE49-F238E27FC236}">
                    <a16:creationId xmlns:a16="http://schemas.microsoft.com/office/drawing/2014/main" id="{645EA8FE-D584-4964-9F74-D23595F7182C}"/>
                  </a:ext>
                </a:extLst>
              </p:cNvPr>
              <p:cNvSpPr/>
              <p:nvPr/>
            </p:nvSpPr>
            <p:spPr>
              <a:xfrm>
                <a:off x="1528832" y="341370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8" name="Freeform: Shape 807">
                <a:extLst>
                  <a:ext uri="{FF2B5EF4-FFF2-40B4-BE49-F238E27FC236}">
                    <a16:creationId xmlns:a16="http://schemas.microsoft.com/office/drawing/2014/main" id="{4591B176-BA58-408E-B35F-1260FF14FE25}"/>
                  </a:ext>
                </a:extLst>
              </p:cNvPr>
              <p:cNvSpPr/>
              <p:nvPr/>
            </p:nvSpPr>
            <p:spPr>
              <a:xfrm>
                <a:off x="1605753" y="341370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09" name="Freeform: Shape 808">
                <a:extLst>
                  <a:ext uri="{FF2B5EF4-FFF2-40B4-BE49-F238E27FC236}">
                    <a16:creationId xmlns:a16="http://schemas.microsoft.com/office/drawing/2014/main" id="{BAAAACF2-4E75-48C8-AA63-7850BAB26D45}"/>
                  </a:ext>
                </a:extLst>
              </p:cNvPr>
              <p:cNvSpPr/>
              <p:nvPr/>
            </p:nvSpPr>
            <p:spPr>
              <a:xfrm>
                <a:off x="1451719" y="349063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192" y="20333"/>
                      <a:pt x="5947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0" name="Freeform: Shape 809">
                <a:extLst>
                  <a:ext uri="{FF2B5EF4-FFF2-40B4-BE49-F238E27FC236}">
                    <a16:creationId xmlns:a16="http://schemas.microsoft.com/office/drawing/2014/main" id="{09AA6FFD-95F7-48C3-BA1A-078C422572C5}"/>
                  </a:ext>
                </a:extLst>
              </p:cNvPr>
              <p:cNvSpPr/>
              <p:nvPr/>
            </p:nvSpPr>
            <p:spPr>
              <a:xfrm>
                <a:off x="1528832" y="349063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142" y="0"/>
                      <a:pt x="13044" y="0"/>
                    </a:cubicBezTo>
                    <a:cubicBezTo>
                      <a:pt x="5947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11" name="Freeform: Shape 810">
                <a:extLst>
                  <a:ext uri="{FF2B5EF4-FFF2-40B4-BE49-F238E27FC236}">
                    <a16:creationId xmlns:a16="http://schemas.microsoft.com/office/drawing/2014/main" id="{F8BF5F0E-1CFC-4421-A2BF-7413A8D0F7A4}"/>
                  </a:ext>
                </a:extLst>
              </p:cNvPr>
              <p:cNvSpPr/>
              <p:nvPr/>
            </p:nvSpPr>
            <p:spPr>
              <a:xfrm>
                <a:off x="1605753" y="349063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6" name="Group 605">
              <a:extLst>
                <a:ext uri="{FF2B5EF4-FFF2-40B4-BE49-F238E27FC236}">
                  <a16:creationId xmlns:a16="http://schemas.microsoft.com/office/drawing/2014/main" id="{6CB8F466-3ED6-4278-9816-57249C30EB4A}"/>
                </a:ext>
              </a:extLst>
            </p:cNvPr>
            <p:cNvGrpSpPr/>
            <p:nvPr/>
          </p:nvGrpSpPr>
          <p:grpSpPr>
            <a:xfrm>
              <a:off x="2694983" y="2147736"/>
              <a:ext cx="664659" cy="841413"/>
              <a:chOff x="2534757" y="3016249"/>
              <a:chExt cx="1131761" cy="1432733"/>
            </a:xfrm>
          </p:grpSpPr>
          <p:sp>
            <p:nvSpPr>
              <p:cNvPr id="713" name="Freeform: Shape 712">
                <a:extLst>
                  <a:ext uri="{FF2B5EF4-FFF2-40B4-BE49-F238E27FC236}">
                    <a16:creationId xmlns:a16="http://schemas.microsoft.com/office/drawing/2014/main" id="{146505C1-2215-4842-BC53-0EFFD237ABE7}"/>
                  </a:ext>
                </a:extLst>
              </p:cNvPr>
              <p:cNvSpPr/>
              <p:nvPr/>
            </p:nvSpPr>
            <p:spPr>
              <a:xfrm>
                <a:off x="2534757" y="3795055"/>
                <a:ext cx="1131761" cy="268554"/>
              </a:xfrm>
              <a:custGeom>
                <a:avLst/>
                <a:gdLst>
                  <a:gd name="connsiteX0" fmla="*/ 1128884 w 1131761"/>
                  <a:gd name="connsiteY0" fmla="*/ 0 h 268553"/>
                  <a:gd name="connsiteX1" fmla="*/ 1145381 w 1131761"/>
                  <a:gd name="connsiteY1" fmla="*/ 16497 h 268553"/>
                  <a:gd name="connsiteX2" fmla="*/ 1145381 w 1131761"/>
                  <a:gd name="connsiteY2" fmla="*/ 259730 h 268553"/>
                  <a:gd name="connsiteX3" fmla="*/ 1128884 w 1131761"/>
                  <a:gd name="connsiteY3" fmla="*/ 276418 h 268553"/>
                  <a:gd name="connsiteX4" fmla="*/ 16689 w 1131761"/>
                  <a:gd name="connsiteY4" fmla="*/ 276418 h 268553"/>
                  <a:gd name="connsiteX5" fmla="*/ 0 w 1131761"/>
                  <a:gd name="connsiteY5" fmla="*/ 259730 h 268553"/>
                  <a:gd name="connsiteX6" fmla="*/ 0 w 1131761"/>
                  <a:gd name="connsiteY6" fmla="*/ 16497 h 268553"/>
                  <a:gd name="connsiteX7" fmla="*/ 16689 w 1131761"/>
                  <a:gd name="connsiteY7" fmla="*/ 0 h 268553"/>
                  <a:gd name="connsiteX8" fmla="*/ 1128884 w 1131761"/>
                  <a:gd name="connsiteY8" fmla="*/ 0 h 268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1761" h="268553">
                    <a:moveTo>
                      <a:pt x="1128884" y="0"/>
                    </a:moveTo>
                    <a:cubicBezTo>
                      <a:pt x="1138091" y="0"/>
                      <a:pt x="1145381" y="7481"/>
                      <a:pt x="1145381" y="16497"/>
                    </a:cubicBezTo>
                    <a:lnTo>
                      <a:pt x="1145381" y="259730"/>
                    </a:lnTo>
                    <a:cubicBezTo>
                      <a:pt x="1145381" y="268937"/>
                      <a:pt x="1137900" y="276418"/>
                      <a:pt x="1128884" y="276418"/>
                    </a:cubicBezTo>
                    <a:lnTo>
                      <a:pt x="16689" y="276418"/>
                    </a:lnTo>
                    <a:cubicBezTo>
                      <a:pt x="7481" y="276418"/>
                      <a:pt x="0" y="268937"/>
                      <a:pt x="0" y="259730"/>
                    </a:cubicBezTo>
                    <a:lnTo>
                      <a:pt x="0" y="16497"/>
                    </a:lnTo>
                    <a:cubicBezTo>
                      <a:pt x="0" y="7289"/>
                      <a:pt x="7481" y="0"/>
                      <a:pt x="16689" y="0"/>
                    </a:cubicBezTo>
                    <a:lnTo>
                      <a:pt x="1128884" y="0"/>
                    </a:ln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4" name="Freeform: Shape 713">
                <a:extLst>
                  <a:ext uri="{FF2B5EF4-FFF2-40B4-BE49-F238E27FC236}">
                    <a16:creationId xmlns:a16="http://schemas.microsoft.com/office/drawing/2014/main" id="{9AEBCB92-81DA-4954-A0BF-D2735D0C7E63}"/>
                  </a:ext>
                </a:extLst>
              </p:cNvPr>
              <p:cNvSpPr/>
              <p:nvPr/>
            </p:nvSpPr>
            <p:spPr>
              <a:xfrm>
                <a:off x="2740008" y="3682070"/>
                <a:ext cx="19182" cy="95912"/>
              </a:xfrm>
              <a:custGeom>
                <a:avLst/>
                <a:gdLst>
                  <a:gd name="connsiteX0" fmla="*/ 0 w 0"/>
                  <a:gd name="connsiteY0" fmla="*/ 112984 h 95911"/>
                  <a:gd name="connsiteX1" fmla="*/ 0 w 0"/>
                  <a:gd name="connsiteY1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112984"/>
                    </a:moveTo>
                    <a:lnTo>
                      <a:pt x="0" y="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5" name="Freeform: Shape 714">
                <a:extLst>
                  <a:ext uri="{FF2B5EF4-FFF2-40B4-BE49-F238E27FC236}">
                    <a16:creationId xmlns:a16="http://schemas.microsoft.com/office/drawing/2014/main" id="{966F3972-21FD-47B2-845F-4B5776F7F5A0}"/>
                  </a:ext>
                </a:extLst>
              </p:cNvPr>
              <p:cNvSpPr/>
              <p:nvPr/>
            </p:nvSpPr>
            <p:spPr>
              <a:xfrm>
                <a:off x="3475078" y="3682070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12984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12984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6" name="Freeform: Shape 715">
                <a:extLst>
                  <a:ext uri="{FF2B5EF4-FFF2-40B4-BE49-F238E27FC236}">
                    <a16:creationId xmlns:a16="http://schemas.microsoft.com/office/drawing/2014/main" id="{B0985E0E-9739-483D-BCE9-8250CA9BB4AD}"/>
                  </a:ext>
                </a:extLst>
              </p:cNvPr>
              <p:cNvSpPr/>
              <p:nvPr/>
            </p:nvSpPr>
            <p:spPr>
              <a:xfrm>
                <a:off x="2534757" y="3405460"/>
                <a:ext cx="1131761" cy="268554"/>
              </a:xfrm>
              <a:custGeom>
                <a:avLst/>
                <a:gdLst>
                  <a:gd name="connsiteX0" fmla="*/ 1128884 w 1131761"/>
                  <a:gd name="connsiteY0" fmla="*/ 0 h 268553"/>
                  <a:gd name="connsiteX1" fmla="*/ 1145381 w 1131761"/>
                  <a:gd name="connsiteY1" fmla="*/ 16689 h 268553"/>
                  <a:gd name="connsiteX2" fmla="*/ 1145381 w 1131761"/>
                  <a:gd name="connsiteY2" fmla="*/ 259922 h 268553"/>
                  <a:gd name="connsiteX3" fmla="*/ 1128884 w 1131761"/>
                  <a:gd name="connsiteY3" fmla="*/ 276418 h 268553"/>
                  <a:gd name="connsiteX4" fmla="*/ 16689 w 1131761"/>
                  <a:gd name="connsiteY4" fmla="*/ 276418 h 268553"/>
                  <a:gd name="connsiteX5" fmla="*/ 0 w 1131761"/>
                  <a:gd name="connsiteY5" fmla="*/ 259922 h 268553"/>
                  <a:gd name="connsiteX6" fmla="*/ 0 w 1131761"/>
                  <a:gd name="connsiteY6" fmla="*/ 16689 h 268553"/>
                  <a:gd name="connsiteX7" fmla="*/ 16689 w 1131761"/>
                  <a:gd name="connsiteY7" fmla="*/ 0 h 268553"/>
                  <a:gd name="connsiteX8" fmla="*/ 1128884 w 1131761"/>
                  <a:gd name="connsiteY8" fmla="*/ 0 h 268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1761" h="268553">
                    <a:moveTo>
                      <a:pt x="1128884" y="0"/>
                    </a:moveTo>
                    <a:cubicBezTo>
                      <a:pt x="1138091" y="0"/>
                      <a:pt x="1145381" y="7481"/>
                      <a:pt x="1145381" y="16689"/>
                    </a:cubicBezTo>
                    <a:lnTo>
                      <a:pt x="1145381" y="259922"/>
                    </a:lnTo>
                    <a:cubicBezTo>
                      <a:pt x="1145381" y="269129"/>
                      <a:pt x="1137900" y="276418"/>
                      <a:pt x="1128884" y="276418"/>
                    </a:cubicBezTo>
                    <a:lnTo>
                      <a:pt x="16689" y="276418"/>
                    </a:lnTo>
                    <a:cubicBezTo>
                      <a:pt x="7481" y="276418"/>
                      <a:pt x="0" y="268937"/>
                      <a:pt x="0" y="259922"/>
                    </a:cubicBezTo>
                    <a:lnTo>
                      <a:pt x="0" y="16689"/>
                    </a:lnTo>
                    <a:cubicBezTo>
                      <a:pt x="0" y="7481"/>
                      <a:pt x="7481" y="0"/>
                      <a:pt x="16689" y="0"/>
                    </a:cubicBezTo>
                    <a:lnTo>
                      <a:pt x="1128884" y="0"/>
                    </a:ln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7" name="Freeform: Shape 716">
                <a:extLst>
                  <a:ext uri="{FF2B5EF4-FFF2-40B4-BE49-F238E27FC236}">
                    <a16:creationId xmlns:a16="http://schemas.microsoft.com/office/drawing/2014/main" id="{F9D4F59F-3804-4232-BBA1-774F57EE42BE}"/>
                  </a:ext>
                </a:extLst>
              </p:cNvPr>
              <p:cNvSpPr/>
              <p:nvPr/>
            </p:nvSpPr>
            <p:spPr>
              <a:xfrm>
                <a:off x="3475078" y="3292476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12409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12409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8" name="Freeform: Shape 717">
                <a:extLst>
                  <a:ext uri="{FF2B5EF4-FFF2-40B4-BE49-F238E27FC236}">
                    <a16:creationId xmlns:a16="http://schemas.microsoft.com/office/drawing/2014/main" id="{D5810963-35C6-4AE1-9D67-157ABC2146F4}"/>
                  </a:ext>
                </a:extLst>
              </p:cNvPr>
              <p:cNvSpPr/>
              <p:nvPr/>
            </p:nvSpPr>
            <p:spPr>
              <a:xfrm>
                <a:off x="2740008" y="3292476"/>
                <a:ext cx="19182" cy="95912"/>
              </a:xfrm>
              <a:custGeom>
                <a:avLst/>
                <a:gdLst>
                  <a:gd name="connsiteX0" fmla="*/ 0 w 0"/>
                  <a:gd name="connsiteY0" fmla="*/ 112409 h 95911"/>
                  <a:gd name="connsiteX1" fmla="*/ 0 w 0"/>
                  <a:gd name="connsiteY1" fmla="*/ 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112409"/>
                    </a:moveTo>
                    <a:lnTo>
                      <a:pt x="0" y="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4" name="Freeform: Shape 723">
                <a:extLst>
                  <a:ext uri="{FF2B5EF4-FFF2-40B4-BE49-F238E27FC236}">
                    <a16:creationId xmlns:a16="http://schemas.microsoft.com/office/drawing/2014/main" id="{D9C822A5-4728-45B2-B141-0181C9B7F402}"/>
                  </a:ext>
                </a:extLst>
              </p:cNvPr>
              <p:cNvSpPr/>
              <p:nvPr/>
            </p:nvSpPr>
            <p:spPr>
              <a:xfrm>
                <a:off x="2534757" y="3016249"/>
                <a:ext cx="1131761" cy="268554"/>
              </a:xfrm>
              <a:custGeom>
                <a:avLst/>
                <a:gdLst>
                  <a:gd name="connsiteX0" fmla="*/ 1145573 w 1131761"/>
                  <a:gd name="connsiteY0" fmla="*/ 259730 h 268553"/>
                  <a:gd name="connsiteX1" fmla="*/ 1129076 w 1131761"/>
                  <a:gd name="connsiteY1" fmla="*/ 276227 h 268553"/>
                  <a:gd name="connsiteX2" fmla="*/ 16689 w 1131761"/>
                  <a:gd name="connsiteY2" fmla="*/ 276227 h 268553"/>
                  <a:gd name="connsiteX3" fmla="*/ 0 w 1131761"/>
                  <a:gd name="connsiteY3" fmla="*/ 259730 h 268553"/>
                  <a:gd name="connsiteX4" fmla="*/ 0 w 1131761"/>
                  <a:gd name="connsiteY4" fmla="*/ 16497 h 268553"/>
                  <a:gd name="connsiteX5" fmla="*/ 16689 w 1131761"/>
                  <a:gd name="connsiteY5" fmla="*/ 0 h 268553"/>
                  <a:gd name="connsiteX6" fmla="*/ 1129076 w 1131761"/>
                  <a:gd name="connsiteY6" fmla="*/ 0 h 268553"/>
                  <a:gd name="connsiteX7" fmla="*/ 1145573 w 1131761"/>
                  <a:gd name="connsiteY7" fmla="*/ 16497 h 268553"/>
                  <a:gd name="connsiteX8" fmla="*/ 1145573 w 1131761"/>
                  <a:gd name="connsiteY8" fmla="*/ 259730 h 268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1761" h="268553">
                    <a:moveTo>
                      <a:pt x="1145573" y="259730"/>
                    </a:moveTo>
                    <a:cubicBezTo>
                      <a:pt x="1145573" y="268937"/>
                      <a:pt x="1138091" y="276227"/>
                      <a:pt x="1129076" y="276227"/>
                    </a:cubicBezTo>
                    <a:lnTo>
                      <a:pt x="16689" y="276227"/>
                    </a:lnTo>
                    <a:cubicBezTo>
                      <a:pt x="7481" y="276227"/>
                      <a:pt x="0" y="268745"/>
                      <a:pt x="0" y="259730"/>
                    </a:cubicBezTo>
                    <a:lnTo>
                      <a:pt x="0" y="16497"/>
                    </a:lnTo>
                    <a:cubicBezTo>
                      <a:pt x="0" y="7289"/>
                      <a:pt x="7481" y="0"/>
                      <a:pt x="16689" y="0"/>
                    </a:cubicBezTo>
                    <a:lnTo>
                      <a:pt x="1129076" y="0"/>
                    </a:lnTo>
                    <a:cubicBezTo>
                      <a:pt x="1138283" y="0"/>
                      <a:pt x="1145573" y="7481"/>
                      <a:pt x="1145573" y="16497"/>
                    </a:cubicBezTo>
                    <a:lnTo>
                      <a:pt x="1145573" y="259730"/>
                    </a:ln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4" name="Freeform: Shape 733">
                <a:extLst>
                  <a:ext uri="{FF2B5EF4-FFF2-40B4-BE49-F238E27FC236}">
                    <a16:creationId xmlns:a16="http://schemas.microsoft.com/office/drawing/2014/main" id="{B6FD3C46-39B9-4313-8349-CD4F03F09701}"/>
                  </a:ext>
                </a:extLst>
              </p:cNvPr>
              <p:cNvSpPr/>
              <p:nvPr/>
            </p:nvSpPr>
            <p:spPr>
              <a:xfrm>
                <a:off x="2616857" y="3108517"/>
                <a:ext cx="76730" cy="76730"/>
              </a:xfrm>
              <a:custGeom>
                <a:avLst/>
                <a:gdLst>
                  <a:gd name="connsiteX0" fmla="*/ 45846 w 76729"/>
                  <a:gd name="connsiteY0" fmla="*/ 91692 h 76729"/>
                  <a:gd name="connsiteX1" fmla="*/ 0 w 76729"/>
                  <a:gd name="connsiteY1" fmla="*/ 45846 h 76729"/>
                  <a:gd name="connsiteX2" fmla="*/ 45846 w 76729"/>
                  <a:gd name="connsiteY2" fmla="*/ 0 h 76729"/>
                  <a:gd name="connsiteX3" fmla="*/ 91692 w 76729"/>
                  <a:gd name="connsiteY3" fmla="*/ 45846 h 76729"/>
                  <a:gd name="connsiteX4" fmla="*/ 45846 w 76729"/>
                  <a:gd name="connsiteY4" fmla="*/ 91692 h 7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29" h="76729">
                    <a:moveTo>
                      <a:pt x="45846" y="91692"/>
                    </a:moveTo>
                    <a:cubicBezTo>
                      <a:pt x="20525" y="91692"/>
                      <a:pt x="0" y="71167"/>
                      <a:pt x="0" y="45846"/>
                    </a:cubicBezTo>
                    <a:cubicBezTo>
                      <a:pt x="0" y="20525"/>
                      <a:pt x="20525" y="0"/>
                      <a:pt x="45846" y="0"/>
                    </a:cubicBezTo>
                    <a:cubicBezTo>
                      <a:pt x="71167" y="0"/>
                      <a:pt x="91692" y="20525"/>
                      <a:pt x="91692" y="45846"/>
                    </a:cubicBezTo>
                    <a:cubicBezTo>
                      <a:pt x="91692" y="70975"/>
                      <a:pt x="71167" y="91692"/>
                      <a:pt x="45846" y="91692"/>
                    </a:cubicBez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5" name="Freeform: Shape 734">
                <a:extLst>
                  <a:ext uri="{FF2B5EF4-FFF2-40B4-BE49-F238E27FC236}">
                    <a16:creationId xmlns:a16="http://schemas.microsoft.com/office/drawing/2014/main" id="{C8BB864A-4BCB-40D5-803C-F708C5119B38}"/>
                  </a:ext>
                </a:extLst>
              </p:cNvPr>
              <p:cNvSpPr/>
              <p:nvPr/>
            </p:nvSpPr>
            <p:spPr>
              <a:xfrm>
                <a:off x="2879848" y="3160501"/>
                <a:ext cx="441195" cy="19182"/>
              </a:xfrm>
              <a:custGeom>
                <a:avLst/>
                <a:gdLst>
                  <a:gd name="connsiteX0" fmla="*/ 455390 w 441195"/>
                  <a:gd name="connsiteY0" fmla="*/ 0 h 0"/>
                  <a:gd name="connsiteX1" fmla="*/ 0 w 44119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195">
                    <a:moveTo>
                      <a:pt x="455390" y="0"/>
                    </a:moveTo>
                    <a:lnTo>
                      <a:pt x="0" y="0"/>
                    </a:ln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6" name="Freeform: Shape 735">
                <a:extLst>
                  <a:ext uri="{FF2B5EF4-FFF2-40B4-BE49-F238E27FC236}">
                    <a16:creationId xmlns:a16="http://schemas.microsoft.com/office/drawing/2014/main" id="{A9E5E4CF-1357-4959-9C6F-1D10EFD46384}"/>
                  </a:ext>
                </a:extLst>
              </p:cNvPr>
              <p:cNvSpPr/>
              <p:nvPr/>
            </p:nvSpPr>
            <p:spPr>
              <a:xfrm>
                <a:off x="2616857" y="3497919"/>
                <a:ext cx="76730" cy="76730"/>
              </a:xfrm>
              <a:custGeom>
                <a:avLst/>
                <a:gdLst>
                  <a:gd name="connsiteX0" fmla="*/ 45846 w 76729"/>
                  <a:gd name="connsiteY0" fmla="*/ 0 h 76729"/>
                  <a:gd name="connsiteX1" fmla="*/ 91692 w 76729"/>
                  <a:gd name="connsiteY1" fmla="*/ 45846 h 76729"/>
                  <a:gd name="connsiteX2" fmla="*/ 45846 w 76729"/>
                  <a:gd name="connsiteY2" fmla="*/ 91692 h 76729"/>
                  <a:gd name="connsiteX3" fmla="*/ 0 w 76729"/>
                  <a:gd name="connsiteY3" fmla="*/ 45846 h 76729"/>
                  <a:gd name="connsiteX4" fmla="*/ 45846 w 76729"/>
                  <a:gd name="connsiteY4" fmla="*/ 0 h 7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29" h="76729">
                    <a:moveTo>
                      <a:pt x="45846" y="0"/>
                    </a:moveTo>
                    <a:cubicBezTo>
                      <a:pt x="71167" y="0"/>
                      <a:pt x="91692" y="20525"/>
                      <a:pt x="91692" y="45846"/>
                    </a:cubicBezTo>
                    <a:cubicBezTo>
                      <a:pt x="91692" y="71167"/>
                      <a:pt x="71167" y="91692"/>
                      <a:pt x="45846" y="91692"/>
                    </a:cubicBezTo>
                    <a:cubicBezTo>
                      <a:pt x="20525" y="91692"/>
                      <a:pt x="0" y="71167"/>
                      <a:pt x="0" y="45846"/>
                    </a:cubicBezTo>
                    <a:cubicBezTo>
                      <a:pt x="0" y="20525"/>
                      <a:pt x="20525" y="0"/>
                      <a:pt x="45846" y="0"/>
                    </a:cubicBez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8" name="Freeform: Shape 737">
                <a:extLst>
                  <a:ext uri="{FF2B5EF4-FFF2-40B4-BE49-F238E27FC236}">
                    <a16:creationId xmlns:a16="http://schemas.microsoft.com/office/drawing/2014/main" id="{F4066713-F94C-4A29-A03A-BE78BFD92FB8}"/>
                  </a:ext>
                </a:extLst>
              </p:cNvPr>
              <p:cNvSpPr/>
              <p:nvPr/>
            </p:nvSpPr>
            <p:spPr>
              <a:xfrm>
                <a:off x="2879848" y="3543765"/>
                <a:ext cx="441195" cy="19182"/>
              </a:xfrm>
              <a:custGeom>
                <a:avLst/>
                <a:gdLst>
                  <a:gd name="connsiteX0" fmla="*/ 455390 w 441195"/>
                  <a:gd name="connsiteY0" fmla="*/ 0 h 0"/>
                  <a:gd name="connsiteX1" fmla="*/ 0 w 44119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195">
                    <a:moveTo>
                      <a:pt x="455390" y="0"/>
                    </a:moveTo>
                    <a:lnTo>
                      <a:pt x="0" y="0"/>
                    </a:ln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49" name="Freeform: Shape 748">
                <a:extLst>
                  <a:ext uri="{FF2B5EF4-FFF2-40B4-BE49-F238E27FC236}">
                    <a16:creationId xmlns:a16="http://schemas.microsoft.com/office/drawing/2014/main" id="{C4DAB1CD-77B4-4C68-8E0F-926BFF771ED9}"/>
                  </a:ext>
                </a:extLst>
              </p:cNvPr>
              <p:cNvSpPr/>
              <p:nvPr/>
            </p:nvSpPr>
            <p:spPr>
              <a:xfrm>
                <a:off x="2616857" y="3887514"/>
                <a:ext cx="76730" cy="76730"/>
              </a:xfrm>
              <a:custGeom>
                <a:avLst/>
                <a:gdLst>
                  <a:gd name="connsiteX0" fmla="*/ 45846 w 76729"/>
                  <a:gd name="connsiteY0" fmla="*/ 0 h 76729"/>
                  <a:gd name="connsiteX1" fmla="*/ 91692 w 76729"/>
                  <a:gd name="connsiteY1" fmla="*/ 45846 h 76729"/>
                  <a:gd name="connsiteX2" fmla="*/ 45846 w 76729"/>
                  <a:gd name="connsiteY2" fmla="*/ 91692 h 76729"/>
                  <a:gd name="connsiteX3" fmla="*/ 0 w 76729"/>
                  <a:gd name="connsiteY3" fmla="*/ 45846 h 76729"/>
                  <a:gd name="connsiteX4" fmla="*/ 45846 w 76729"/>
                  <a:gd name="connsiteY4" fmla="*/ 0 h 7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29" h="76729">
                    <a:moveTo>
                      <a:pt x="45846" y="0"/>
                    </a:moveTo>
                    <a:cubicBezTo>
                      <a:pt x="71167" y="0"/>
                      <a:pt x="91692" y="20525"/>
                      <a:pt x="91692" y="45846"/>
                    </a:cubicBezTo>
                    <a:cubicBezTo>
                      <a:pt x="91692" y="71167"/>
                      <a:pt x="71167" y="91692"/>
                      <a:pt x="45846" y="91692"/>
                    </a:cubicBezTo>
                    <a:cubicBezTo>
                      <a:pt x="20525" y="91692"/>
                      <a:pt x="0" y="71167"/>
                      <a:pt x="0" y="45846"/>
                    </a:cubicBezTo>
                    <a:cubicBezTo>
                      <a:pt x="0" y="20525"/>
                      <a:pt x="20525" y="0"/>
                      <a:pt x="45846" y="0"/>
                    </a:cubicBez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0" name="Freeform: Shape 749">
                <a:extLst>
                  <a:ext uri="{FF2B5EF4-FFF2-40B4-BE49-F238E27FC236}">
                    <a16:creationId xmlns:a16="http://schemas.microsoft.com/office/drawing/2014/main" id="{8C6A43BC-D395-45AA-936F-D72A820A5188}"/>
                  </a:ext>
                </a:extLst>
              </p:cNvPr>
              <p:cNvSpPr/>
              <p:nvPr/>
            </p:nvSpPr>
            <p:spPr>
              <a:xfrm>
                <a:off x="3075700" y="4290920"/>
                <a:ext cx="57547" cy="57547"/>
              </a:xfrm>
              <a:custGeom>
                <a:avLst/>
                <a:gdLst>
                  <a:gd name="connsiteX0" fmla="*/ 31843 w 57547"/>
                  <a:gd name="connsiteY0" fmla="*/ 0 h 57547"/>
                  <a:gd name="connsiteX1" fmla="*/ 63686 w 57547"/>
                  <a:gd name="connsiteY1" fmla="*/ 31843 h 57547"/>
                  <a:gd name="connsiteX2" fmla="*/ 31843 w 57547"/>
                  <a:gd name="connsiteY2" fmla="*/ 63685 h 57547"/>
                  <a:gd name="connsiteX3" fmla="*/ 0 w 57547"/>
                  <a:gd name="connsiteY3" fmla="*/ 31843 h 57547"/>
                  <a:gd name="connsiteX4" fmla="*/ 31843 w 57547"/>
                  <a:gd name="connsiteY4" fmla="*/ 0 h 57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547" h="57547">
                    <a:moveTo>
                      <a:pt x="31843" y="0"/>
                    </a:moveTo>
                    <a:cubicBezTo>
                      <a:pt x="49491" y="0"/>
                      <a:pt x="63686" y="14387"/>
                      <a:pt x="63686" y="31843"/>
                    </a:cubicBezTo>
                    <a:cubicBezTo>
                      <a:pt x="63686" y="49491"/>
                      <a:pt x="49299" y="63685"/>
                      <a:pt x="31843" y="63685"/>
                    </a:cubicBezTo>
                    <a:cubicBezTo>
                      <a:pt x="14195" y="63685"/>
                      <a:pt x="0" y="49299"/>
                      <a:pt x="0" y="31843"/>
                    </a:cubicBezTo>
                    <a:cubicBezTo>
                      <a:pt x="0" y="14195"/>
                      <a:pt x="14195" y="0"/>
                      <a:pt x="31843" y="0"/>
                    </a:cubicBezTo>
                    <a:close/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5" name="Freeform: Shape 754">
                <a:extLst>
                  <a:ext uri="{FF2B5EF4-FFF2-40B4-BE49-F238E27FC236}">
                    <a16:creationId xmlns:a16="http://schemas.microsoft.com/office/drawing/2014/main" id="{723F8A5E-B7E9-4C43-B6AD-2F56DDC7403C}"/>
                  </a:ext>
                </a:extLst>
              </p:cNvPr>
              <p:cNvSpPr/>
              <p:nvPr/>
            </p:nvSpPr>
            <p:spPr>
              <a:xfrm>
                <a:off x="2879848" y="3933168"/>
                <a:ext cx="441195" cy="19182"/>
              </a:xfrm>
              <a:custGeom>
                <a:avLst/>
                <a:gdLst>
                  <a:gd name="connsiteX0" fmla="*/ 455390 w 441195"/>
                  <a:gd name="connsiteY0" fmla="*/ 0 h 0"/>
                  <a:gd name="connsiteX1" fmla="*/ 0 w 44119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1195">
                    <a:moveTo>
                      <a:pt x="455390" y="0"/>
                    </a:moveTo>
                    <a:lnTo>
                      <a:pt x="0" y="0"/>
                    </a:ln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6" name="Freeform: Shape 755">
                <a:extLst>
                  <a:ext uri="{FF2B5EF4-FFF2-40B4-BE49-F238E27FC236}">
                    <a16:creationId xmlns:a16="http://schemas.microsoft.com/office/drawing/2014/main" id="{05A06C80-91F5-4D5B-B3CA-6255B6A8C22A}"/>
                  </a:ext>
                </a:extLst>
              </p:cNvPr>
              <p:cNvSpPr/>
              <p:nvPr/>
            </p:nvSpPr>
            <p:spPr>
              <a:xfrm>
                <a:off x="3139386" y="4324105"/>
                <a:ext cx="422013" cy="19182"/>
              </a:xfrm>
              <a:custGeom>
                <a:avLst/>
                <a:gdLst>
                  <a:gd name="connsiteX0" fmla="*/ 0 w 422012"/>
                  <a:gd name="connsiteY0" fmla="*/ 1151 h 0"/>
                  <a:gd name="connsiteX1" fmla="*/ 427384 w 422012"/>
                  <a:gd name="connsiteY1" fmla="*/ 115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2012">
                    <a:moveTo>
                      <a:pt x="0" y="1151"/>
                    </a:moveTo>
                    <a:cubicBezTo>
                      <a:pt x="149239" y="-384"/>
                      <a:pt x="283324" y="-384"/>
                      <a:pt x="427384" y="1151"/>
                    </a:cubicBez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7" name="Freeform: Shape 756">
                <a:extLst>
                  <a:ext uri="{FF2B5EF4-FFF2-40B4-BE49-F238E27FC236}">
                    <a16:creationId xmlns:a16="http://schemas.microsoft.com/office/drawing/2014/main" id="{A97A8459-D201-44D6-820B-444264EDBAB2}"/>
                  </a:ext>
                </a:extLst>
              </p:cNvPr>
              <p:cNvSpPr/>
              <p:nvPr/>
            </p:nvSpPr>
            <p:spPr>
              <a:xfrm>
                <a:off x="2662703" y="4324105"/>
                <a:ext cx="402830" cy="19182"/>
              </a:xfrm>
              <a:custGeom>
                <a:avLst/>
                <a:gdLst>
                  <a:gd name="connsiteX0" fmla="*/ 0 w 402830"/>
                  <a:gd name="connsiteY0" fmla="*/ 1151 h 0"/>
                  <a:gd name="connsiteX1" fmla="*/ 408777 w 402830"/>
                  <a:gd name="connsiteY1" fmla="*/ 115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2830">
                    <a:moveTo>
                      <a:pt x="0" y="1151"/>
                    </a:moveTo>
                    <a:cubicBezTo>
                      <a:pt x="136770" y="-384"/>
                      <a:pt x="270855" y="-384"/>
                      <a:pt x="408777" y="1151"/>
                    </a:cubicBez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8" name="Freeform: Shape 757">
                <a:extLst>
                  <a:ext uri="{FF2B5EF4-FFF2-40B4-BE49-F238E27FC236}">
                    <a16:creationId xmlns:a16="http://schemas.microsoft.com/office/drawing/2014/main" id="{0C94DB0F-C695-47D6-85DF-1C24D3D56449}"/>
                  </a:ext>
                </a:extLst>
              </p:cNvPr>
              <p:cNvSpPr/>
              <p:nvPr/>
            </p:nvSpPr>
            <p:spPr>
              <a:xfrm>
                <a:off x="3107543" y="4071473"/>
                <a:ext cx="19182" cy="211006"/>
              </a:xfrm>
              <a:custGeom>
                <a:avLst/>
                <a:gdLst>
                  <a:gd name="connsiteX0" fmla="*/ 0 w 0"/>
                  <a:gd name="connsiteY0" fmla="*/ 0 h 211006"/>
                  <a:gd name="connsiteX1" fmla="*/ 0 w 0"/>
                  <a:gd name="connsiteY1" fmla="*/ 215802 h 211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006">
                    <a:moveTo>
                      <a:pt x="0" y="0"/>
                    </a:moveTo>
                    <a:cubicBezTo>
                      <a:pt x="0" y="71934"/>
                      <a:pt x="0" y="143868"/>
                      <a:pt x="0" y="215802"/>
                    </a:cubicBezTo>
                  </a:path>
                </a:pathLst>
              </a:custGeom>
              <a:noFill/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59" name="Freeform: Shape 758">
                <a:extLst>
                  <a:ext uri="{FF2B5EF4-FFF2-40B4-BE49-F238E27FC236}">
                    <a16:creationId xmlns:a16="http://schemas.microsoft.com/office/drawing/2014/main" id="{F22D6EC8-4C9F-42AE-B8FA-C693A241F818}"/>
                  </a:ext>
                </a:extLst>
              </p:cNvPr>
              <p:cNvSpPr/>
              <p:nvPr/>
            </p:nvSpPr>
            <p:spPr>
              <a:xfrm>
                <a:off x="3427314" y="3096048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1" name="Freeform: Shape 760">
                <a:extLst>
                  <a:ext uri="{FF2B5EF4-FFF2-40B4-BE49-F238E27FC236}">
                    <a16:creationId xmlns:a16="http://schemas.microsoft.com/office/drawing/2014/main" id="{0EAA6D9D-10DF-417C-AFEF-357760DE1348}"/>
                  </a:ext>
                </a:extLst>
              </p:cNvPr>
              <p:cNvSpPr/>
              <p:nvPr/>
            </p:nvSpPr>
            <p:spPr>
              <a:xfrm>
                <a:off x="3506537" y="3096048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2" name="Freeform: Shape 761">
                <a:extLst>
                  <a:ext uri="{FF2B5EF4-FFF2-40B4-BE49-F238E27FC236}">
                    <a16:creationId xmlns:a16="http://schemas.microsoft.com/office/drawing/2014/main" id="{7E145B55-5BF8-468A-A768-A233A3A10A77}"/>
                  </a:ext>
                </a:extLst>
              </p:cNvPr>
              <p:cNvSpPr/>
              <p:nvPr/>
            </p:nvSpPr>
            <p:spPr>
              <a:xfrm>
                <a:off x="3585760" y="3096048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4" name="Freeform: Shape 763">
                <a:extLst>
                  <a:ext uri="{FF2B5EF4-FFF2-40B4-BE49-F238E27FC236}">
                    <a16:creationId xmlns:a16="http://schemas.microsoft.com/office/drawing/2014/main" id="{BBE63FDB-56A5-45F7-9104-5F73768A7B41}"/>
                  </a:ext>
                </a:extLst>
              </p:cNvPr>
              <p:cNvSpPr/>
              <p:nvPr/>
            </p:nvSpPr>
            <p:spPr>
              <a:xfrm>
                <a:off x="3427314" y="3497152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5" name="Freeform: Shape 764">
                <a:extLst>
                  <a:ext uri="{FF2B5EF4-FFF2-40B4-BE49-F238E27FC236}">
                    <a16:creationId xmlns:a16="http://schemas.microsoft.com/office/drawing/2014/main" id="{2F828E8A-F986-40A1-946F-E651D37FEDFC}"/>
                  </a:ext>
                </a:extLst>
              </p:cNvPr>
              <p:cNvSpPr/>
              <p:nvPr/>
            </p:nvSpPr>
            <p:spPr>
              <a:xfrm>
                <a:off x="3506537" y="3497152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6" name="Freeform: Shape 765">
                <a:extLst>
                  <a:ext uri="{FF2B5EF4-FFF2-40B4-BE49-F238E27FC236}">
                    <a16:creationId xmlns:a16="http://schemas.microsoft.com/office/drawing/2014/main" id="{1D5EA15C-F273-4C93-9D47-3D385523C056}"/>
                  </a:ext>
                </a:extLst>
              </p:cNvPr>
              <p:cNvSpPr/>
              <p:nvPr/>
            </p:nvSpPr>
            <p:spPr>
              <a:xfrm>
                <a:off x="3585760" y="3497152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7" name="Freeform: Shape 766">
                <a:extLst>
                  <a:ext uri="{FF2B5EF4-FFF2-40B4-BE49-F238E27FC236}">
                    <a16:creationId xmlns:a16="http://schemas.microsoft.com/office/drawing/2014/main" id="{22C67789-C5F6-42AB-A5A3-756B6A68EAB0}"/>
                  </a:ext>
                </a:extLst>
              </p:cNvPr>
              <p:cNvSpPr/>
              <p:nvPr/>
            </p:nvSpPr>
            <p:spPr>
              <a:xfrm>
                <a:off x="3427314" y="3881184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68" name="Freeform: Shape 767">
                <a:extLst>
                  <a:ext uri="{FF2B5EF4-FFF2-40B4-BE49-F238E27FC236}">
                    <a16:creationId xmlns:a16="http://schemas.microsoft.com/office/drawing/2014/main" id="{A7CE4D64-3FD7-4CB3-A212-85BF87EFC277}"/>
                  </a:ext>
                </a:extLst>
              </p:cNvPr>
              <p:cNvSpPr/>
              <p:nvPr/>
            </p:nvSpPr>
            <p:spPr>
              <a:xfrm>
                <a:off x="3506537" y="3881184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0" name="Freeform: Shape 769">
                <a:extLst>
                  <a:ext uri="{FF2B5EF4-FFF2-40B4-BE49-F238E27FC236}">
                    <a16:creationId xmlns:a16="http://schemas.microsoft.com/office/drawing/2014/main" id="{E59994C9-6E79-4E83-AA5D-3351D4EC8854}"/>
                  </a:ext>
                </a:extLst>
              </p:cNvPr>
              <p:cNvSpPr/>
              <p:nvPr/>
            </p:nvSpPr>
            <p:spPr>
              <a:xfrm>
                <a:off x="3585760" y="3881184"/>
                <a:ext cx="19182" cy="95912"/>
              </a:xfrm>
              <a:custGeom>
                <a:avLst/>
                <a:gdLst>
                  <a:gd name="connsiteX0" fmla="*/ 0 w 0"/>
                  <a:gd name="connsiteY0" fmla="*/ 0 h 95911"/>
                  <a:gd name="connsiteX1" fmla="*/ 0 w 0"/>
                  <a:gd name="connsiteY1" fmla="*/ 104160 h 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95911">
                    <a:moveTo>
                      <a:pt x="0" y="0"/>
                    </a:moveTo>
                    <a:lnTo>
                      <a:pt x="0" y="104160"/>
                    </a:lnTo>
                  </a:path>
                </a:pathLst>
              </a:custGeom>
              <a:ln w="14381" cap="flat">
                <a:solidFill>
                  <a:srgbClr val="50E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1" name="Freeform: Shape 770">
                <a:extLst>
                  <a:ext uri="{FF2B5EF4-FFF2-40B4-BE49-F238E27FC236}">
                    <a16:creationId xmlns:a16="http://schemas.microsoft.com/office/drawing/2014/main" id="{B8CD7BF1-EA8F-42D8-A27D-17AB7F2D75E3}"/>
                  </a:ext>
                </a:extLst>
              </p:cNvPr>
              <p:cNvSpPr/>
              <p:nvPr/>
            </p:nvSpPr>
            <p:spPr>
              <a:xfrm>
                <a:off x="3017578" y="442980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3" name="Freeform: Shape 772">
                <a:extLst>
                  <a:ext uri="{FF2B5EF4-FFF2-40B4-BE49-F238E27FC236}">
                    <a16:creationId xmlns:a16="http://schemas.microsoft.com/office/drawing/2014/main" id="{25C6D0C5-491D-403E-9B33-D9C4D1073C22}"/>
                  </a:ext>
                </a:extLst>
              </p:cNvPr>
              <p:cNvSpPr/>
              <p:nvPr/>
            </p:nvSpPr>
            <p:spPr>
              <a:xfrm>
                <a:off x="3094499" y="442980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74" name="Freeform: Shape 773">
                <a:extLst>
                  <a:ext uri="{FF2B5EF4-FFF2-40B4-BE49-F238E27FC236}">
                    <a16:creationId xmlns:a16="http://schemas.microsoft.com/office/drawing/2014/main" id="{5D50FAAC-D326-417B-9A41-A555BCD1FA1A}"/>
                  </a:ext>
                </a:extLst>
              </p:cNvPr>
              <p:cNvSpPr/>
              <p:nvPr/>
            </p:nvSpPr>
            <p:spPr>
              <a:xfrm>
                <a:off x="3171420" y="442980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8" name="Group 607">
              <a:extLst>
                <a:ext uri="{FF2B5EF4-FFF2-40B4-BE49-F238E27FC236}">
                  <a16:creationId xmlns:a16="http://schemas.microsoft.com/office/drawing/2014/main" id="{1B28A9AD-C69B-4D62-B34B-058C6D28BAEA}"/>
                </a:ext>
              </a:extLst>
            </p:cNvPr>
            <p:cNvGrpSpPr/>
            <p:nvPr/>
          </p:nvGrpSpPr>
          <p:grpSpPr>
            <a:xfrm>
              <a:off x="3422127" y="2691855"/>
              <a:ext cx="173024" cy="557823"/>
              <a:chOff x="3017578" y="4506722"/>
              <a:chExt cx="173024" cy="557823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689" name="Freeform: Shape 688">
                <a:extLst>
                  <a:ext uri="{FF2B5EF4-FFF2-40B4-BE49-F238E27FC236}">
                    <a16:creationId xmlns:a16="http://schemas.microsoft.com/office/drawing/2014/main" id="{1DC6FBAF-B41E-4982-9C7B-C3BE4EFB240D}"/>
                  </a:ext>
                </a:extLst>
              </p:cNvPr>
              <p:cNvSpPr/>
              <p:nvPr/>
            </p:nvSpPr>
            <p:spPr>
              <a:xfrm>
                <a:off x="3017578" y="450672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0" name="Freeform: Shape 689">
                <a:extLst>
                  <a:ext uri="{FF2B5EF4-FFF2-40B4-BE49-F238E27FC236}">
                    <a16:creationId xmlns:a16="http://schemas.microsoft.com/office/drawing/2014/main" id="{0FC6B480-67AE-4AEA-B861-BE76A5E7A674}"/>
                  </a:ext>
                </a:extLst>
              </p:cNvPr>
              <p:cNvSpPr/>
              <p:nvPr/>
            </p:nvSpPr>
            <p:spPr>
              <a:xfrm>
                <a:off x="3094499" y="450672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1" name="Freeform: Shape 690">
                <a:extLst>
                  <a:ext uri="{FF2B5EF4-FFF2-40B4-BE49-F238E27FC236}">
                    <a16:creationId xmlns:a16="http://schemas.microsoft.com/office/drawing/2014/main" id="{7F5DF91A-8C78-418F-A251-697128186B8E}"/>
                  </a:ext>
                </a:extLst>
              </p:cNvPr>
              <p:cNvSpPr/>
              <p:nvPr/>
            </p:nvSpPr>
            <p:spPr>
              <a:xfrm>
                <a:off x="3171420" y="450672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2" name="Freeform: Shape 691">
                <a:extLst>
                  <a:ext uri="{FF2B5EF4-FFF2-40B4-BE49-F238E27FC236}">
                    <a16:creationId xmlns:a16="http://schemas.microsoft.com/office/drawing/2014/main" id="{3105FAAF-0098-4D3E-8235-25BEC5E13B38}"/>
                  </a:ext>
                </a:extLst>
              </p:cNvPr>
              <p:cNvSpPr/>
              <p:nvPr/>
            </p:nvSpPr>
            <p:spPr>
              <a:xfrm>
                <a:off x="3017578" y="458364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3" name="Freeform: Shape 692">
                <a:extLst>
                  <a:ext uri="{FF2B5EF4-FFF2-40B4-BE49-F238E27FC236}">
                    <a16:creationId xmlns:a16="http://schemas.microsoft.com/office/drawing/2014/main" id="{32A45DA4-90AD-4CD1-A32A-4C78B3F75C76}"/>
                  </a:ext>
                </a:extLst>
              </p:cNvPr>
              <p:cNvSpPr/>
              <p:nvPr/>
            </p:nvSpPr>
            <p:spPr>
              <a:xfrm>
                <a:off x="3094499" y="458364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4" name="Freeform: Shape 693">
                <a:extLst>
                  <a:ext uri="{FF2B5EF4-FFF2-40B4-BE49-F238E27FC236}">
                    <a16:creationId xmlns:a16="http://schemas.microsoft.com/office/drawing/2014/main" id="{16E57E13-9EA4-4AF6-B9F2-FC21C627CEA9}"/>
                  </a:ext>
                </a:extLst>
              </p:cNvPr>
              <p:cNvSpPr/>
              <p:nvPr/>
            </p:nvSpPr>
            <p:spPr>
              <a:xfrm>
                <a:off x="3171420" y="458364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5" name="Freeform: Shape 694">
                <a:extLst>
                  <a:ext uri="{FF2B5EF4-FFF2-40B4-BE49-F238E27FC236}">
                    <a16:creationId xmlns:a16="http://schemas.microsoft.com/office/drawing/2014/main" id="{EFC7EE4A-A469-4BBB-9249-CAB06E1C84D3}"/>
                  </a:ext>
                </a:extLst>
              </p:cNvPr>
              <p:cNvSpPr/>
              <p:nvPr/>
            </p:nvSpPr>
            <p:spPr>
              <a:xfrm>
                <a:off x="3017578" y="466056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4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6" name="Freeform: Shape 695">
                <a:extLst>
                  <a:ext uri="{FF2B5EF4-FFF2-40B4-BE49-F238E27FC236}">
                    <a16:creationId xmlns:a16="http://schemas.microsoft.com/office/drawing/2014/main" id="{EE02357B-92B0-4C42-B143-56D6403FE944}"/>
                  </a:ext>
                </a:extLst>
              </p:cNvPr>
              <p:cNvSpPr/>
              <p:nvPr/>
            </p:nvSpPr>
            <p:spPr>
              <a:xfrm>
                <a:off x="3094499" y="466056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4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7" name="Freeform: Shape 696">
                <a:extLst>
                  <a:ext uri="{FF2B5EF4-FFF2-40B4-BE49-F238E27FC236}">
                    <a16:creationId xmlns:a16="http://schemas.microsoft.com/office/drawing/2014/main" id="{F519CFB0-D04D-41CA-8316-ED4D72D04412}"/>
                  </a:ext>
                </a:extLst>
              </p:cNvPr>
              <p:cNvSpPr/>
              <p:nvPr/>
            </p:nvSpPr>
            <p:spPr>
              <a:xfrm>
                <a:off x="3171420" y="466056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4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4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8" name="Freeform: Shape 697">
                <a:extLst>
                  <a:ext uri="{FF2B5EF4-FFF2-40B4-BE49-F238E27FC236}">
                    <a16:creationId xmlns:a16="http://schemas.microsoft.com/office/drawing/2014/main" id="{BC3BA6C7-9D90-4F49-92C8-A683503FD34C}"/>
                  </a:ext>
                </a:extLst>
              </p:cNvPr>
              <p:cNvSpPr/>
              <p:nvPr/>
            </p:nvSpPr>
            <p:spPr>
              <a:xfrm>
                <a:off x="3017578" y="473748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99" name="Freeform: Shape 698">
                <a:extLst>
                  <a:ext uri="{FF2B5EF4-FFF2-40B4-BE49-F238E27FC236}">
                    <a16:creationId xmlns:a16="http://schemas.microsoft.com/office/drawing/2014/main" id="{DC5B126E-35F7-42D1-B191-E5FDC5357ED2}"/>
                  </a:ext>
                </a:extLst>
              </p:cNvPr>
              <p:cNvSpPr/>
              <p:nvPr/>
            </p:nvSpPr>
            <p:spPr>
              <a:xfrm>
                <a:off x="3094499" y="473748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0" name="Freeform: Shape 699">
                <a:extLst>
                  <a:ext uri="{FF2B5EF4-FFF2-40B4-BE49-F238E27FC236}">
                    <a16:creationId xmlns:a16="http://schemas.microsoft.com/office/drawing/2014/main" id="{08A13704-684B-4166-BDBA-2679B645AA01}"/>
                  </a:ext>
                </a:extLst>
              </p:cNvPr>
              <p:cNvSpPr/>
              <p:nvPr/>
            </p:nvSpPr>
            <p:spPr>
              <a:xfrm>
                <a:off x="3171420" y="473748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1" name="Freeform: Shape 700">
                <a:extLst>
                  <a:ext uri="{FF2B5EF4-FFF2-40B4-BE49-F238E27FC236}">
                    <a16:creationId xmlns:a16="http://schemas.microsoft.com/office/drawing/2014/main" id="{F7EA1D05-E3F3-44CB-951D-856511886C99}"/>
                  </a:ext>
                </a:extLst>
              </p:cNvPr>
              <p:cNvSpPr/>
              <p:nvPr/>
            </p:nvSpPr>
            <p:spPr>
              <a:xfrm>
                <a:off x="3017578" y="481459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141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2" name="Freeform: Shape 701">
                <a:extLst>
                  <a:ext uri="{FF2B5EF4-FFF2-40B4-BE49-F238E27FC236}">
                    <a16:creationId xmlns:a16="http://schemas.microsoft.com/office/drawing/2014/main" id="{EAEE32DD-5861-4DD7-974D-B38565F9B487}"/>
                  </a:ext>
                </a:extLst>
              </p:cNvPr>
              <p:cNvSpPr/>
              <p:nvPr/>
            </p:nvSpPr>
            <p:spPr>
              <a:xfrm>
                <a:off x="3094499" y="481459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3" name="Freeform: Shape 702">
                <a:extLst>
                  <a:ext uri="{FF2B5EF4-FFF2-40B4-BE49-F238E27FC236}">
                    <a16:creationId xmlns:a16="http://schemas.microsoft.com/office/drawing/2014/main" id="{7CC377DA-C09B-4B59-B553-4027A0A67A54}"/>
                  </a:ext>
                </a:extLst>
              </p:cNvPr>
              <p:cNvSpPr/>
              <p:nvPr/>
            </p:nvSpPr>
            <p:spPr>
              <a:xfrm>
                <a:off x="3171420" y="4814599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4" name="Freeform: Shape 703">
                <a:extLst>
                  <a:ext uri="{FF2B5EF4-FFF2-40B4-BE49-F238E27FC236}">
                    <a16:creationId xmlns:a16="http://schemas.microsoft.com/office/drawing/2014/main" id="{8CF7DB44-EA9E-45A0-8D3E-50382A9DA0BE}"/>
                  </a:ext>
                </a:extLst>
              </p:cNvPr>
              <p:cNvSpPr/>
              <p:nvPr/>
            </p:nvSpPr>
            <p:spPr>
              <a:xfrm>
                <a:off x="3017578" y="489152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5" name="Freeform: Shape 704">
                <a:extLst>
                  <a:ext uri="{FF2B5EF4-FFF2-40B4-BE49-F238E27FC236}">
                    <a16:creationId xmlns:a16="http://schemas.microsoft.com/office/drawing/2014/main" id="{5580A29D-F590-4FFA-AEE5-94C4ADFE14C3}"/>
                  </a:ext>
                </a:extLst>
              </p:cNvPr>
              <p:cNvSpPr/>
              <p:nvPr/>
            </p:nvSpPr>
            <p:spPr>
              <a:xfrm>
                <a:off x="3094499" y="489152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6" name="Freeform: Shape 705">
                <a:extLst>
                  <a:ext uri="{FF2B5EF4-FFF2-40B4-BE49-F238E27FC236}">
                    <a16:creationId xmlns:a16="http://schemas.microsoft.com/office/drawing/2014/main" id="{7B5A3BB4-4CE1-4901-9FA9-0760BD0364FC}"/>
                  </a:ext>
                </a:extLst>
              </p:cNvPr>
              <p:cNvSpPr/>
              <p:nvPr/>
            </p:nvSpPr>
            <p:spPr>
              <a:xfrm>
                <a:off x="3171420" y="489152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946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7" name="Freeform: Shape 706">
                <a:extLst>
                  <a:ext uri="{FF2B5EF4-FFF2-40B4-BE49-F238E27FC236}">
                    <a16:creationId xmlns:a16="http://schemas.microsoft.com/office/drawing/2014/main" id="{B1F796DE-F356-47F8-9A3E-76B1450A161C}"/>
                  </a:ext>
                </a:extLst>
              </p:cNvPr>
              <p:cNvSpPr/>
              <p:nvPr/>
            </p:nvSpPr>
            <p:spPr>
              <a:xfrm>
                <a:off x="3017578" y="496844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8" name="Freeform: Shape 707">
                <a:extLst>
                  <a:ext uri="{FF2B5EF4-FFF2-40B4-BE49-F238E27FC236}">
                    <a16:creationId xmlns:a16="http://schemas.microsoft.com/office/drawing/2014/main" id="{8EDB0EBE-C3B9-4650-992D-42A6B70EC593}"/>
                  </a:ext>
                </a:extLst>
              </p:cNvPr>
              <p:cNvSpPr/>
              <p:nvPr/>
            </p:nvSpPr>
            <p:spPr>
              <a:xfrm>
                <a:off x="3094499" y="496844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9" name="Freeform: Shape 708">
                <a:extLst>
                  <a:ext uri="{FF2B5EF4-FFF2-40B4-BE49-F238E27FC236}">
                    <a16:creationId xmlns:a16="http://schemas.microsoft.com/office/drawing/2014/main" id="{15012424-4B6F-4349-8781-3B16502DBF8F}"/>
                  </a:ext>
                </a:extLst>
              </p:cNvPr>
              <p:cNvSpPr/>
              <p:nvPr/>
            </p:nvSpPr>
            <p:spPr>
              <a:xfrm>
                <a:off x="3171420" y="496844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0" name="Freeform: Shape 709">
                <a:extLst>
                  <a:ext uri="{FF2B5EF4-FFF2-40B4-BE49-F238E27FC236}">
                    <a16:creationId xmlns:a16="http://schemas.microsoft.com/office/drawing/2014/main" id="{D83DBC17-BF8F-433E-AEB3-3BCF3109930A}"/>
                  </a:ext>
                </a:extLst>
              </p:cNvPr>
              <p:cNvSpPr/>
              <p:nvPr/>
            </p:nvSpPr>
            <p:spPr>
              <a:xfrm>
                <a:off x="3017578" y="504536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1" name="Freeform: Shape 710">
                <a:extLst>
                  <a:ext uri="{FF2B5EF4-FFF2-40B4-BE49-F238E27FC236}">
                    <a16:creationId xmlns:a16="http://schemas.microsoft.com/office/drawing/2014/main" id="{070238AC-8C1D-43BA-BC3F-D3870A881546}"/>
                  </a:ext>
                </a:extLst>
              </p:cNvPr>
              <p:cNvSpPr/>
              <p:nvPr/>
            </p:nvSpPr>
            <p:spPr>
              <a:xfrm>
                <a:off x="3094499" y="504536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2" name="Freeform: Shape 711">
                <a:extLst>
                  <a:ext uri="{FF2B5EF4-FFF2-40B4-BE49-F238E27FC236}">
                    <a16:creationId xmlns:a16="http://schemas.microsoft.com/office/drawing/2014/main" id="{DF01DF51-E026-43FE-A318-2841B68F1FDD}"/>
                  </a:ext>
                </a:extLst>
              </p:cNvPr>
              <p:cNvSpPr/>
              <p:nvPr/>
            </p:nvSpPr>
            <p:spPr>
              <a:xfrm>
                <a:off x="3171420" y="5045363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1" y="26088"/>
                      <a:pt x="26088" y="20333"/>
                      <a:pt x="26088" y="13044"/>
                    </a:cubicBezTo>
                    <a:cubicBezTo>
                      <a:pt x="26088" y="5754"/>
                      <a:pt x="20333" y="0"/>
                      <a:pt x="13044" y="0"/>
                    </a:cubicBezTo>
                    <a:cubicBezTo>
                      <a:pt x="5755" y="0"/>
                      <a:pt x="0" y="5754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grpFill/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09" name="Group 608">
              <a:extLst>
                <a:ext uri="{FF2B5EF4-FFF2-40B4-BE49-F238E27FC236}">
                  <a16:creationId xmlns:a16="http://schemas.microsoft.com/office/drawing/2014/main" id="{2C03780C-D672-452D-81C2-126B25F101C8}"/>
                </a:ext>
              </a:extLst>
            </p:cNvPr>
            <p:cNvGrpSpPr/>
            <p:nvPr/>
          </p:nvGrpSpPr>
          <p:grpSpPr>
            <a:xfrm rot="5400000">
              <a:off x="4529091" y="1571929"/>
              <a:ext cx="173217" cy="634937"/>
              <a:chOff x="4566172" y="2529016"/>
              <a:chExt cx="173217" cy="634937"/>
            </a:xfrm>
          </p:grpSpPr>
          <p:sp>
            <p:nvSpPr>
              <p:cNvPr id="662" name="Freeform: Shape 661">
                <a:extLst>
                  <a:ext uri="{FF2B5EF4-FFF2-40B4-BE49-F238E27FC236}">
                    <a16:creationId xmlns:a16="http://schemas.microsoft.com/office/drawing/2014/main" id="{CC66CD69-F6E6-4A25-8209-E786CD9685A4}"/>
                  </a:ext>
                </a:extLst>
              </p:cNvPr>
              <p:cNvSpPr/>
              <p:nvPr/>
            </p:nvSpPr>
            <p:spPr>
              <a:xfrm>
                <a:off x="4566172" y="252901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367442F7-568C-46F3-A59A-FEBC18637D91}"/>
                  </a:ext>
                </a:extLst>
              </p:cNvPr>
              <p:cNvSpPr/>
              <p:nvPr/>
            </p:nvSpPr>
            <p:spPr>
              <a:xfrm>
                <a:off x="4643094" y="252901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4" name="Freeform: Shape 663">
                <a:extLst>
                  <a:ext uri="{FF2B5EF4-FFF2-40B4-BE49-F238E27FC236}">
                    <a16:creationId xmlns:a16="http://schemas.microsoft.com/office/drawing/2014/main" id="{ECA08210-8F10-40B4-AC1B-5C57DB620F7D}"/>
                  </a:ext>
                </a:extLst>
              </p:cNvPr>
              <p:cNvSpPr/>
              <p:nvPr/>
            </p:nvSpPr>
            <p:spPr>
              <a:xfrm>
                <a:off x="4720207" y="2529016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5" name="Freeform: Shape 664">
                <a:extLst>
                  <a:ext uri="{FF2B5EF4-FFF2-40B4-BE49-F238E27FC236}">
                    <a16:creationId xmlns:a16="http://schemas.microsoft.com/office/drawing/2014/main" id="{7B3BD6AB-ADB3-40E8-8976-711227A3BC29}"/>
                  </a:ext>
                </a:extLst>
              </p:cNvPr>
              <p:cNvSpPr/>
              <p:nvPr/>
            </p:nvSpPr>
            <p:spPr>
              <a:xfrm>
                <a:off x="4566172" y="260593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6" name="Freeform: Shape 665">
                <a:extLst>
                  <a:ext uri="{FF2B5EF4-FFF2-40B4-BE49-F238E27FC236}">
                    <a16:creationId xmlns:a16="http://schemas.microsoft.com/office/drawing/2014/main" id="{2BD3A9A8-D4EC-4559-82C5-4E56A2AC3788}"/>
                  </a:ext>
                </a:extLst>
              </p:cNvPr>
              <p:cNvSpPr/>
              <p:nvPr/>
            </p:nvSpPr>
            <p:spPr>
              <a:xfrm>
                <a:off x="4643094" y="260593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7" name="Freeform: Shape 666">
                <a:extLst>
                  <a:ext uri="{FF2B5EF4-FFF2-40B4-BE49-F238E27FC236}">
                    <a16:creationId xmlns:a16="http://schemas.microsoft.com/office/drawing/2014/main" id="{D4B32E96-BE7C-491C-99F4-1C257403233F}"/>
                  </a:ext>
                </a:extLst>
              </p:cNvPr>
              <p:cNvSpPr/>
              <p:nvPr/>
            </p:nvSpPr>
            <p:spPr>
              <a:xfrm>
                <a:off x="4720207" y="2605938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8" name="Freeform: Shape 667">
                <a:extLst>
                  <a:ext uri="{FF2B5EF4-FFF2-40B4-BE49-F238E27FC236}">
                    <a16:creationId xmlns:a16="http://schemas.microsoft.com/office/drawing/2014/main" id="{272865CE-B20F-4551-AF88-241429D4FEF3}"/>
                  </a:ext>
                </a:extLst>
              </p:cNvPr>
              <p:cNvSpPr/>
              <p:nvPr/>
            </p:nvSpPr>
            <p:spPr>
              <a:xfrm>
                <a:off x="4566172" y="268305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9" name="Freeform: Shape 668">
                <a:extLst>
                  <a:ext uri="{FF2B5EF4-FFF2-40B4-BE49-F238E27FC236}">
                    <a16:creationId xmlns:a16="http://schemas.microsoft.com/office/drawing/2014/main" id="{E589E500-7A6E-4BB3-931E-6D78A9CE61F9}"/>
                  </a:ext>
                </a:extLst>
              </p:cNvPr>
              <p:cNvSpPr/>
              <p:nvPr/>
            </p:nvSpPr>
            <p:spPr>
              <a:xfrm>
                <a:off x="4643094" y="268305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0" name="Freeform: Shape 669">
                <a:extLst>
                  <a:ext uri="{FF2B5EF4-FFF2-40B4-BE49-F238E27FC236}">
                    <a16:creationId xmlns:a16="http://schemas.microsoft.com/office/drawing/2014/main" id="{0CF5FA68-14B5-4468-9090-1D14710C03AA}"/>
                  </a:ext>
                </a:extLst>
              </p:cNvPr>
              <p:cNvSpPr/>
              <p:nvPr/>
            </p:nvSpPr>
            <p:spPr>
              <a:xfrm>
                <a:off x="4720207" y="268305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2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1" name="Freeform: Shape 670">
                <a:extLst>
                  <a:ext uri="{FF2B5EF4-FFF2-40B4-BE49-F238E27FC236}">
                    <a16:creationId xmlns:a16="http://schemas.microsoft.com/office/drawing/2014/main" id="{C8BE6F60-55E5-4BC0-B088-396248A5EBFF}"/>
                  </a:ext>
                </a:extLst>
              </p:cNvPr>
              <p:cNvSpPr/>
              <p:nvPr/>
            </p:nvSpPr>
            <p:spPr>
              <a:xfrm>
                <a:off x="4566172" y="275997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2" name="Freeform: Shape 671">
                <a:extLst>
                  <a:ext uri="{FF2B5EF4-FFF2-40B4-BE49-F238E27FC236}">
                    <a16:creationId xmlns:a16="http://schemas.microsoft.com/office/drawing/2014/main" id="{13BC500C-48DA-40AF-A6BC-883D10F0903A}"/>
                  </a:ext>
                </a:extLst>
              </p:cNvPr>
              <p:cNvSpPr/>
              <p:nvPr/>
            </p:nvSpPr>
            <p:spPr>
              <a:xfrm>
                <a:off x="4643094" y="275997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3" name="Freeform: Shape 672">
                <a:extLst>
                  <a:ext uri="{FF2B5EF4-FFF2-40B4-BE49-F238E27FC236}">
                    <a16:creationId xmlns:a16="http://schemas.microsoft.com/office/drawing/2014/main" id="{FBB7B7B9-BF16-4701-AC80-CFAA6ACA7BB5}"/>
                  </a:ext>
                </a:extLst>
              </p:cNvPr>
              <p:cNvSpPr/>
              <p:nvPr/>
            </p:nvSpPr>
            <p:spPr>
              <a:xfrm>
                <a:off x="4720207" y="2759972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4" name="Freeform: Shape 673">
                <a:extLst>
                  <a:ext uri="{FF2B5EF4-FFF2-40B4-BE49-F238E27FC236}">
                    <a16:creationId xmlns:a16="http://schemas.microsoft.com/office/drawing/2014/main" id="{D79AB4E7-9B09-4588-A551-601B92FFA000}"/>
                  </a:ext>
                </a:extLst>
              </p:cNvPr>
              <p:cNvSpPr/>
              <p:nvPr/>
            </p:nvSpPr>
            <p:spPr>
              <a:xfrm>
                <a:off x="4566172" y="283689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5" name="Freeform: Shape 674">
                <a:extLst>
                  <a:ext uri="{FF2B5EF4-FFF2-40B4-BE49-F238E27FC236}">
                    <a16:creationId xmlns:a16="http://schemas.microsoft.com/office/drawing/2014/main" id="{813ABF29-5961-423B-A2EB-27D6A210EFC5}"/>
                  </a:ext>
                </a:extLst>
              </p:cNvPr>
              <p:cNvSpPr/>
              <p:nvPr/>
            </p:nvSpPr>
            <p:spPr>
              <a:xfrm>
                <a:off x="4643094" y="283689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6" name="Freeform: Shape 675">
                <a:extLst>
                  <a:ext uri="{FF2B5EF4-FFF2-40B4-BE49-F238E27FC236}">
                    <a16:creationId xmlns:a16="http://schemas.microsoft.com/office/drawing/2014/main" id="{4F54EA66-9CAA-4BAC-A4D5-E854E2766BEE}"/>
                  </a:ext>
                </a:extLst>
              </p:cNvPr>
              <p:cNvSpPr/>
              <p:nvPr/>
            </p:nvSpPr>
            <p:spPr>
              <a:xfrm>
                <a:off x="4720207" y="2836894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7" name="Freeform: Shape 676">
                <a:extLst>
                  <a:ext uri="{FF2B5EF4-FFF2-40B4-BE49-F238E27FC236}">
                    <a16:creationId xmlns:a16="http://schemas.microsoft.com/office/drawing/2014/main" id="{A9039113-A007-419C-B5B6-5C785D813E81}"/>
                  </a:ext>
                </a:extLst>
              </p:cNvPr>
              <p:cNvSpPr/>
              <p:nvPr/>
            </p:nvSpPr>
            <p:spPr>
              <a:xfrm>
                <a:off x="4566172" y="2913815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8" name="Freeform: Shape 677">
                <a:extLst>
                  <a:ext uri="{FF2B5EF4-FFF2-40B4-BE49-F238E27FC236}">
                    <a16:creationId xmlns:a16="http://schemas.microsoft.com/office/drawing/2014/main" id="{9210BC1E-EF67-4320-942D-82CAE51F8B13}"/>
                  </a:ext>
                </a:extLst>
              </p:cNvPr>
              <p:cNvSpPr/>
              <p:nvPr/>
            </p:nvSpPr>
            <p:spPr>
              <a:xfrm>
                <a:off x="4643094" y="2913815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79" name="Freeform: Shape 678">
                <a:extLst>
                  <a:ext uri="{FF2B5EF4-FFF2-40B4-BE49-F238E27FC236}">
                    <a16:creationId xmlns:a16="http://schemas.microsoft.com/office/drawing/2014/main" id="{987FCAE6-D785-48CD-A64B-526C7981B4D9}"/>
                  </a:ext>
                </a:extLst>
              </p:cNvPr>
              <p:cNvSpPr/>
              <p:nvPr/>
            </p:nvSpPr>
            <p:spPr>
              <a:xfrm>
                <a:off x="4720207" y="2913815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0" name="Freeform: Shape 679">
                <a:extLst>
                  <a:ext uri="{FF2B5EF4-FFF2-40B4-BE49-F238E27FC236}">
                    <a16:creationId xmlns:a16="http://schemas.microsoft.com/office/drawing/2014/main" id="{3AF70101-0B26-46BF-A202-71AE65872A21}"/>
                  </a:ext>
                </a:extLst>
              </p:cNvPr>
              <p:cNvSpPr/>
              <p:nvPr/>
            </p:nvSpPr>
            <p:spPr>
              <a:xfrm>
                <a:off x="4566172" y="299073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1" name="Freeform: Shape 680">
                <a:extLst>
                  <a:ext uri="{FF2B5EF4-FFF2-40B4-BE49-F238E27FC236}">
                    <a16:creationId xmlns:a16="http://schemas.microsoft.com/office/drawing/2014/main" id="{701B9500-E0EE-43B3-804A-6610789F110D}"/>
                  </a:ext>
                </a:extLst>
              </p:cNvPr>
              <p:cNvSpPr/>
              <p:nvPr/>
            </p:nvSpPr>
            <p:spPr>
              <a:xfrm>
                <a:off x="4643094" y="299073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2" name="Freeform: Shape 681">
                <a:extLst>
                  <a:ext uri="{FF2B5EF4-FFF2-40B4-BE49-F238E27FC236}">
                    <a16:creationId xmlns:a16="http://schemas.microsoft.com/office/drawing/2014/main" id="{A65612E9-F86A-4F1F-9676-9CC8796711A2}"/>
                  </a:ext>
                </a:extLst>
              </p:cNvPr>
              <p:cNvSpPr/>
              <p:nvPr/>
            </p:nvSpPr>
            <p:spPr>
              <a:xfrm>
                <a:off x="4720207" y="2990737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947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333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3" name="Freeform: Shape 682">
                <a:extLst>
                  <a:ext uri="{FF2B5EF4-FFF2-40B4-BE49-F238E27FC236}">
                    <a16:creationId xmlns:a16="http://schemas.microsoft.com/office/drawing/2014/main" id="{5D16C78B-95FE-40B9-AB65-038F6943E7FE}"/>
                  </a:ext>
                </a:extLst>
              </p:cNvPr>
              <p:cNvSpPr/>
              <p:nvPr/>
            </p:nvSpPr>
            <p:spPr>
              <a:xfrm>
                <a:off x="4566172" y="306785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4" name="Freeform: Shape 683">
                <a:extLst>
                  <a:ext uri="{FF2B5EF4-FFF2-40B4-BE49-F238E27FC236}">
                    <a16:creationId xmlns:a16="http://schemas.microsoft.com/office/drawing/2014/main" id="{BF76D73F-0D2E-49EA-9EA2-F5A5F84F7B4F}"/>
                  </a:ext>
                </a:extLst>
              </p:cNvPr>
              <p:cNvSpPr/>
              <p:nvPr/>
            </p:nvSpPr>
            <p:spPr>
              <a:xfrm>
                <a:off x="4643094" y="306785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5" name="Freeform: Shape 684">
                <a:extLst>
                  <a:ext uri="{FF2B5EF4-FFF2-40B4-BE49-F238E27FC236}">
                    <a16:creationId xmlns:a16="http://schemas.microsoft.com/office/drawing/2014/main" id="{713890B1-736D-490D-ADC3-3A75C03206A2}"/>
                  </a:ext>
                </a:extLst>
              </p:cNvPr>
              <p:cNvSpPr/>
              <p:nvPr/>
            </p:nvSpPr>
            <p:spPr>
              <a:xfrm>
                <a:off x="4720207" y="3067850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6" name="Freeform: Shape 685">
                <a:extLst>
                  <a:ext uri="{FF2B5EF4-FFF2-40B4-BE49-F238E27FC236}">
                    <a16:creationId xmlns:a16="http://schemas.microsoft.com/office/drawing/2014/main" id="{7DD7C870-54E6-4F5C-A3D8-8C3C1D895902}"/>
                  </a:ext>
                </a:extLst>
              </p:cNvPr>
              <p:cNvSpPr/>
              <p:nvPr/>
            </p:nvSpPr>
            <p:spPr>
              <a:xfrm>
                <a:off x="4566172" y="314477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7" name="Freeform: Shape 686">
                <a:extLst>
                  <a:ext uri="{FF2B5EF4-FFF2-40B4-BE49-F238E27FC236}">
                    <a16:creationId xmlns:a16="http://schemas.microsoft.com/office/drawing/2014/main" id="{5F97CA24-40AC-443D-86F2-2D7686C279BB}"/>
                  </a:ext>
                </a:extLst>
              </p:cNvPr>
              <p:cNvSpPr/>
              <p:nvPr/>
            </p:nvSpPr>
            <p:spPr>
              <a:xfrm>
                <a:off x="4643094" y="314477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142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946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88" name="Freeform: Shape 687">
                <a:extLst>
                  <a:ext uri="{FF2B5EF4-FFF2-40B4-BE49-F238E27FC236}">
                    <a16:creationId xmlns:a16="http://schemas.microsoft.com/office/drawing/2014/main" id="{C9EA7B01-D100-4793-8702-96E6B5D9E277}"/>
                  </a:ext>
                </a:extLst>
              </p:cNvPr>
              <p:cNvSpPr/>
              <p:nvPr/>
            </p:nvSpPr>
            <p:spPr>
              <a:xfrm>
                <a:off x="4720207" y="3144771"/>
                <a:ext cx="19182" cy="19182"/>
              </a:xfrm>
              <a:custGeom>
                <a:avLst/>
                <a:gdLst>
                  <a:gd name="connsiteX0" fmla="*/ 13044 w 19182"/>
                  <a:gd name="connsiteY0" fmla="*/ 26088 h 19182"/>
                  <a:gd name="connsiteX1" fmla="*/ 26088 w 19182"/>
                  <a:gd name="connsiteY1" fmla="*/ 13044 h 19182"/>
                  <a:gd name="connsiteX2" fmla="*/ 13044 w 19182"/>
                  <a:gd name="connsiteY2" fmla="*/ 0 h 19182"/>
                  <a:gd name="connsiteX3" fmla="*/ 0 w 19182"/>
                  <a:gd name="connsiteY3" fmla="*/ 13044 h 19182"/>
                  <a:gd name="connsiteX4" fmla="*/ 13044 w 19182"/>
                  <a:gd name="connsiteY4" fmla="*/ 26088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182" h="19182">
                    <a:moveTo>
                      <a:pt x="13044" y="26088"/>
                    </a:moveTo>
                    <a:cubicBezTo>
                      <a:pt x="20333" y="26088"/>
                      <a:pt x="26088" y="20333"/>
                      <a:pt x="26088" y="13044"/>
                    </a:cubicBezTo>
                    <a:cubicBezTo>
                      <a:pt x="26088" y="5755"/>
                      <a:pt x="20333" y="0"/>
                      <a:pt x="13044" y="0"/>
                    </a:cubicBezTo>
                    <a:cubicBezTo>
                      <a:pt x="5755" y="0"/>
                      <a:pt x="0" y="5755"/>
                      <a:pt x="0" y="13044"/>
                    </a:cubicBezTo>
                    <a:cubicBezTo>
                      <a:pt x="0" y="20141"/>
                      <a:pt x="5755" y="26088"/>
                      <a:pt x="13044" y="26088"/>
                    </a:cubicBezTo>
                    <a:close/>
                  </a:path>
                </a:pathLst>
              </a:custGeom>
              <a:solidFill>
                <a:srgbClr val="B3B3B3"/>
              </a:solidFill>
              <a:ln w="19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10" name="Group 609">
              <a:extLst>
                <a:ext uri="{FF2B5EF4-FFF2-40B4-BE49-F238E27FC236}">
                  <a16:creationId xmlns:a16="http://schemas.microsoft.com/office/drawing/2014/main" id="{EED3E51C-C1A0-485D-B21E-FAFA74171A9F}"/>
                </a:ext>
              </a:extLst>
            </p:cNvPr>
            <p:cNvGrpSpPr/>
            <p:nvPr/>
          </p:nvGrpSpPr>
          <p:grpSpPr>
            <a:xfrm>
              <a:off x="1248608" y="2659109"/>
              <a:ext cx="76730" cy="557056"/>
              <a:chOff x="1830571" y="4893631"/>
              <a:chExt cx="76730" cy="557056"/>
            </a:xfrm>
          </p:grpSpPr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CAA1649A-6A98-470A-A263-12A2CA6242CB}"/>
                  </a:ext>
                </a:extLst>
              </p:cNvPr>
              <p:cNvSpPr/>
              <p:nvPr/>
            </p:nvSpPr>
            <p:spPr>
              <a:xfrm>
                <a:off x="1830571" y="489363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BFF5E046-3469-4ECD-9027-5F5307A64C26}"/>
                  </a:ext>
                </a:extLst>
              </p:cNvPr>
              <p:cNvSpPr/>
              <p:nvPr/>
            </p:nvSpPr>
            <p:spPr>
              <a:xfrm>
                <a:off x="1830571" y="494254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4C168A47-D160-4A29-9AFB-F7C5BFB796CF}"/>
                  </a:ext>
                </a:extLst>
              </p:cNvPr>
              <p:cNvSpPr/>
              <p:nvPr/>
            </p:nvSpPr>
            <p:spPr>
              <a:xfrm>
                <a:off x="1830571" y="499146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79B7931C-6272-4616-9B56-6F672A6493E2}"/>
                  </a:ext>
                </a:extLst>
              </p:cNvPr>
              <p:cNvSpPr/>
              <p:nvPr/>
            </p:nvSpPr>
            <p:spPr>
              <a:xfrm>
                <a:off x="1830571" y="504037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B13AA0EB-FEBE-4FE7-BD2A-740DEDC39541}"/>
                  </a:ext>
                </a:extLst>
              </p:cNvPr>
              <p:cNvSpPr/>
              <p:nvPr/>
            </p:nvSpPr>
            <p:spPr>
              <a:xfrm>
                <a:off x="1830571" y="508929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66ED0874-9744-4273-B891-53AA8A9A0E12}"/>
                  </a:ext>
                </a:extLst>
              </p:cNvPr>
              <p:cNvSpPr/>
              <p:nvPr/>
            </p:nvSpPr>
            <p:spPr>
              <a:xfrm>
                <a:off x="1830571" y="513820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ED1AD035-B616-417E-A22F-39DCE3E09744}"/>
                  </a:ext>
                </a:extLst>
              </p:cNvPr>
              <p:cNvSpPr/>
              <p:nvPr/>
            </p:nvSpPr>
            <p:spPr>
              <a:xfrm>
                <a:off x="1830571" y="518712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30616294-4D69-4771-937C-27B64A9DABA1}"/>
                  </a:ext>
                </a:extLst>
              </p:cNvPr>
              <p:cNvSpPr/>
              <p:nvPr/>
            </p:nvSpPr>
            <p:spPr>
              <a:xfrm>
                <a:off x="1830571" y="523603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772586CF-9DA8-443F-87F9-52BC8360932C}"/>
                  </a:ext>
                </a:extLst>
              </p:cNvPr>
              <p:cNvSpPr/>
              <p:nvPr/>
            </p:nvSpPr>
            <p:spPr>
              <a:xfrm>
                <a:off x="1830571" y="528495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59" name="Freeform: Shape 658">
                <a:extLst>
                  <a:ext uri="{FF2B5EF4-FFF2-40B4-BE49-F238E27FC236}">
                    <a16:creationId xmlns:a16="http://schemas.microsoft.com/office/drawing/2014/main" id="{9F1286EB-D6D0-49F2-9AC3-1D5DA71459A2}"/>
                  </a:ext>
                </a:extLst>
              </p:cNvPr>
              <p:cNvSpPr/>
              <p:nvPr/>
            </p:nvSpPr>
            <p:spPr>
              <a:xfrm>
                <a:off x="1830571" y="533367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0" name="Freeform: Shape 659">
                <a:extLst>
                  <a:ext uri="{FF2B5EF4-FFF2-40B4-BE49-F238E27FC236}">
                    <a16:creationId xmlns:a16="http://schemas.microsoft.com/office/drawing/2014/main" id="{A7C8EB01-3F12-49AC-97F5-521DC19B5928}"/>
                  </a:ext>
                </a:extLst>
              </p:cNvPr>
              <p:cNvSpPr/>
              <p:nvPr/>
            </p:nvSpPr>
            <p:spPr>
              <a:xfrm>
                <a:off x="1830571" y="5382590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61" name="Freeform: Shape 660">
                <a:extLst>
                  <a:ext uri="{FF2B5EF4-FFF2-40B4-BE49-F238E27FC236}">
                    <a16:creationId xmlns:a16="http://schemas.microsoft.com/office/drawing/2014/main" id="{53C1BB40-748A-41B1-A698-CC6E0D842F1B}"/>
                  </a:ext>
                </a:extLst>
              </p:cNvPr>
              <p:cNvSpPr/>
              <p:nvPr/>
            </p:nvSpPr>
            <p:spPr>
              <a:xfrm>
                <a:off x="1830571" y="543150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11" name="Group 610">
              <a:extLst>
                <a:ext uri="{FF2B5EF4-FFF2-40B4-BE49-F238E27FC236}">
                  <a16:creationId xmlns:a16="http://schemas.microsoft.com/office/drawing/2014/main" id="{733C01A6-803D-40EA-9247-3297D7D3458C}"/>
                </a:ext>
              </a:extLst>
            </p:cNvPr>
            <p:cNvGrpSpPr/>
            <p:nvPr/>
          </p:nvGrpSpPr>
          <p:grpSpPr>
            <a:xfrm flipV="1">
              <a:off x="4334734" y="2867389"/>
              <a:ext cx="76730" cy="557056"/>
              <a:chOff x="1830571" y="4893631"/>
              <a:chExt cx="76730" cy="557056"/>
            </a:xfrm>
          </p:grpSpPr>
          <p:sp>
            <p:nvSpPr>
              <p:cNvPr id="638" name="Freeform: Shape 637">
                <a:extLst>
                  <a:ext uri="{FF2B5EF4-FFF2-40B4-BE49-F238E27FC236}">
                    <a16:creationId xmlns:a16="http://schemas.microsoft.com/office/drawing/2014/main" id="{6120D4B7-550F-4804-974C-BFA1D3C413B9}"/>
                  </a:ext>
                </a:extLst>
              </p:cNvPr>
              <p:cNvSpPr/>
              <p:nvPr/>
            </p:nvSpPr>
            <p:spPr>
              <a:xfrm>
                <a:off x="1830571" y="489363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9" name="Freeform: Shape 638">
                <a:extLst>
                  <a:ext uri="{FF2B5EF4-FFF2-40B4-BE49-F238E27FC236}">
                    <a16:creationId xmlns:a16="http://schemas.microsoft.com/office/drawing/2014/main" id="{64C915B2-0AEA-4EDB-9DE1-8A2A4BBF43B3}"/>
                  </a:ext>
                </a:extLst>
              </p:cNvPr>
              <p:cNvSpPr/>
              <p:nvPr/>
            </p:nvSpPr>
            <p:spPr>
              <a:xfrm>
                <a:off x="1830571" y="494254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0" name="Freeform: Shape 639">
                <a:extLst>
                  <a:ext uri="{FF2B5EF4-FFF2-40B4-BE49-F238E27FC236}">
                    <a16:creationId xmlns:a16="http://schemas.microsoft.com/office/drawing/2014/main" id="{55D4A6BB-F29A-4930-B438-8AF1E6D96A6D}"/>
                  </a:ext>
                </a:extLst>
              </p:cNvPr>
              <p:cNvSpPr/>
              <p:nvPr/>
            </p:nvSpPr>
            <p:spPr>
              <a:xfrm>
                <a:off x="1830571" y="499146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1" name="Freeform: Shape 640">
                <a:extLst>
                  <a:ext uri="{FF2B5EF4-FFF2-40B4-BE49-F238E27FC236}">
                    <a16:creationId xmlns:a16="http://schemas.microsoft.com/office/drawing/2014/main" id="{3C9EAD84-09B8-45C1-BDBA-994472F13AF2}"/>
                  </a:ext>
                </a:extLst>
              </p:cNvPr>
              <p:cNvSpPr/>
              <p:nvPr/>
            </p:nvSpPr>
            <p:spPr>
              <a:xfrm>
                <a:off x="1830571" y="504037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2" name="Freeform: Shape 641">
                <a:extLst>
                  <a:ext uri="{FF2B5EF4-FFF2-40B4-BE49-F238E27FC236}">
                    <a16:creationId xmlns:a16="http://schemas.microsoft.com/office/drawing/2014/main" id="{3EE3774A-E468-40C2-A515-1CC20A244699}"/>
                  </a:ext>
                </a:extLst>
              </p:cNvPr>
              <p:cNvSpPr/>
              <p:nvPr/>
            </p:nvSpPr>
            <p:spPr>
              <a:xfrm>
                <a:off x="1830571" y="508929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3" name="Freeform: Shape 642">
                <a:extLst>
                  <a:ext uri="{FF2B5EF4-FFF2-40B4-BE49-F238E27FC236}">
                    <a16:creationId xmlns:a16="http://schemas.microsoft.com/office/drawing/2014/main" id="{DEF57C6D-0AC3-4AC6-A2FA-A7AD77D265DD}"/>
                  </a:ext>
                </a:extLst>
              </p:cNvPr>
              <p:cNvSpPr/>
              <p:nvPr/>
            </p:nvSpPr>
            <p:spPr>
              <a:xfrm>
                <a:off x="1830571" y="513820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EB2ECF74-F4E8-47D2-8820-B0712A5574F6}"/>
                  </a:ext>
                </a:extLst>
              </p:cNvPr>
              <p:cNvSpPr/>
              <p:nvPr/>
            </p:nvSpPr>
            <p:spPr>
              <a:xfrm>
                <a:off x="1830571" y="518712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74D6074A-A2BC-476D-A48C-9964A3A8F0C9}"/>
                  </a:ext>
                </a:extLst>
              </p:cNvPr>
              <p:cNvSpPr/>
              <p:nvPr/>
            </p:nvSpPr>
            <p:spPr>
              <a:xfrm>
                <a:off x="1830571" y="523603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279CF120-B441-4F2C-A570-6EC782DE694E}"/>
                  </a:ext>
                </a:extLst>
              </p:cNvPr>
              <p:cNvSpPr/>
              <p:nvPr/>
            </p:nvSpPr>
            <p:spPr>
              <a:xfrm>
                <a:off x="1830571" y="528495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501C3B25-BB7F-429B-A5B6-32F3D800CDFA}"/>
                  </a:ext>
                </a:extLst>
              </p:cNvPr>
              <p:cNvSpPr/>
              <p:nvPr/>
            </p:nvSpPr>
            <p:spPr>
              <a:xfrm>
                <a:off x="1830571" y="533367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8" name="Freeform: Shape 647">
                <a:extLst>
                  <a:ext uri="{FF2B5EF4-FFF2-40B4-BE49-F238E27FC236}">
                    <a16:creationId xmlns:a16="http://schemas.microsoft.com/office/drawing/2014/main" id="{96232984-4C0D-4976-AB6F-C9E1BD906E22}"/>
                  </a:ext>
                </a:extLst>
              </p:cNvPr>
              <p:cNvSpPr/>
              <p:nvPr/>
            </p:nvSpPr>
            <p:spPr>
              <a:xfrm>
                <a:off x="1830571" y="5382590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49" name="Freeform: Shape 648">
                <a:extLst>
                  <a:ext uri="{FF2B5EF4-FFF2-40B4-BE49-F238E27FC236}">
                    <a16:creationId xmlns:a16="http://schemas.microsoft.com/office/drawing/2014/main" id="{292E0F39-4267-40C0-86A8-49CE909C7529}"/>
                  </a:ext>
                </a:extLst>
              </p:cNvPr>
              <p:cNvSpPr/>
              <p:nvPr/>
            </p:nvSpPr>
            <p:spPr>
              <a:xfrm>
                <a:off x="1830571" y="543150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12" name="Group 611">
              <a:extLst>
                <a:ext uri="{FF2B5EF4-FFF2-40B4-BE49-F238E27FC236}">
                  <a16:creationId xmlns:a16="http://schemas.microsoft.com/office/drawing/2014/main" id="{24823357-14F8-4639-8CD6-70CB1BB248CD}"/>
                </a:ext>
              </a:extLst>
            </p:cNvPr>
            <p:cNvGrpSpPr/>
            <p:nvPr/>
          </p:nvGrpSpPr>
          <p:grpSpPr>
            <a:xfrm flipV="1">
              <a:off x="2232840" y="2935486"/>
              <a:ext cx="76730" cy="557056"/>
              <a:chOff x="1830571" y="4893631"/>
              <a:chExt cx="76730" cy="557056"/>
            </a:xfrm>
          </p:grpSpPr>
          <p:sp>
            <p:nvSpPr>
              <p:cNvPr id="626" name="Freeform: Shape 625">
                <a:extLst>
                  <a:ext uri="{FF2B5EF4-FFF2-40B4-BE49-F238E27FC236}">
                    <a16:creationId xmlns:a16="http://schemas.microsoft.com/office/drawing/2014/main" id="{03809D5D-D9E0-45A8-AEDF-486A5E72F123}"/>
                  </a:ext>
                </a:extLst>
              </p:cNvPr>
              <p:cNvSpPr/>
              <p:nvPr/>
            </p:nvSpPr>
            <p:spPr>
              <a:xfrm>
                <a:off x="1830571" y="489363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7" name="Freeform: Shape 626">
                <a:extLst>
                  <a:ext uri="{FF2B5EF4-FFF2-40B4-BE49-F238E27FC236}">
                    <a16:creationId xmlns:a16="http://schemas.microsoft.com/office/drawing/2014/main" id="{40AF7F17-178B-4B62-9997-161E1CCC1026}"/>
                  </a:ext>
                </a:extLst>
              </p:cNvPr>
              <p:cNvSpPr/>
              <p:nvPr/>
            </p:nvSpPr>
            <p:spPr>
              <a:xfrm>
                <a:off x="1830571" y="494254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8" name="Freeform: Shape 627">
                <a:extLst>
                  <a:ext uri="{FF2B5EF4-FFF2-40B4-BE49-F238E27FC236}">
                    <a16:creationId xmlns:a16="http://schemas.microsoft.com/office/drawing/2014/main" id="{D39B7C02-F1B4-4F60-AFB6-726EB9891715}"/>
                  </a:ext>
                </a:extLst>
              </p:cNvPr>
              <p:cNvSpPr/>
              <p:nvPr/>
            </p:nvSpPr>
            <p:spPr>
              <a:xfrm>
                <a:off x="1830571" y="499146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9" name="Freeform: Shape 628">
                <a:extLst>
                  <a:ext uri="{FF2B5EF4-FFF2-40B4-BE49-F238E27FC236}">
                    <a16:creationId xmlns:a16="http://schemas.microsoft.com/office/drawing/2014/main" id="{AB14A532-38A8-413C-9D9F-26D68B042DAA}"/>
                  </a:ext>
                </a:extLst>
              </p:cNvPr>
              <p:cNvSpPr/>
              <p:nvPr/>
            </p:nvSpPr>
            <p:spPr>
              <a:xfrm>
                <a:off x="1830571" y="504037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0" name="Freeform: Shape 629">
                <a:extLst>
                  <a:ext uri="{FF2B5EF4-FFF2-40B4-BE49-F238E27FC236}">
                    <a16:creationId xmlns:a16="http://schemas.microsoft.com/office/drawing/2014/main" id="{BBB63D40-38DB-429A-8ADE-C42EF42ADC4E}"/>
                  </a:ext>
                </a:extLst>
              </p:cNvPr>
              <p:cNvSpPr/>
              <p:nvPr/>
            </p:nvSpPr>
            <p:spPr>
              <a:xfrm>
                <a:off x="1830571" y="508929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1" name="Freeform: Shape 630">
                <a:extLst>
                  <a:ext uri="{FF2B5EF4-FFF2-40B4-BE49-F238E27FC236}">
                    <a16:creationId xmlns:a16="http://schemas.microsoft.com/office/drawing/2014/main" id="{92DDB628-3AEF-47A4-B31F-58145AA0002C}"/>
                  </a:ext>
                </a:extLst>
              </p:cNvPr>
              <p:cNvSpPr/>
              <p:nvPr/>
            </p:nvSpPr>
            <p:spPr>
              <a:xfrm>
                <a:off x="1830571" y="513820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2" name="Freeform: Shape 631">
                <a:extLst>
                  <a:ext uri="{FF2B5EF4-FFF2-40B4-BE49-F238E27FC236}">
                    <a16:creationId xmlns:a16="http://schemas.microsoft.com/office/drawing/2014/main" id="{F8F7A9F0-28DD-468A-92CF-AE63DCB54E33}"/>
                  </a:ext>
                </a:extLst>
              </p:cNvPr>
              <p:cNvSpPr/>
              <p:nvPr/>
            </p:nvSpPr>
            <p:spPr>
              <a:xfrm>
                <a:off x="1830571" y="518712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3" name="Freeform: Shape 632">
                <a:extLst>
                  <a:ext uri="{FF2B5EF4-FFF2-40B4-BE49-F238E27FC236}">
                    <a16:creationId xmlns:a16="http://schemas.microsoft.com/office/drawing/2014/main" id="{2BA1F310-2167-4F6D-ABF0-0A9C8C6788FC}"/>
                  </a:ext>
                </a:extLst>
              </p:cNvPr>
              <p:cNvSpPr/>
              <p:nvPr/>
            </p:nvSpPr>
            <p:spPr>
              <a:xfrm>
                <a:off x="1830571" y="523603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4" name="Freeform: Shape 633">
                <a:extLst>
                  <a:ext uri="{FF2B5EF4-FFF2-40B4-BE49-F238E27FC236}">
                    <a16:creationId xmlns:a16="http://schemas.microsoft.com/office/drawing/2014/main" id="{634ECA1C-D4FF-4020-90C6-4F3B1C432E1B}"/>
                  </a:ext>
                </a:extLst>
              </p:cNvPr>
              <p:cNvSpPr/>
              <p:nvPr/>
            </p:nvSpPr>
            <p:spPr>
              <a:xfrm>
                <a:off x="1830571" y="528495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5" name="Freeform: Shape 634">
                <a:extLst>
                  <a:ext uri="{FF2B5EF4-FFF2-40B4-BE49-F238E27FC236}">
                    <a16:creationId xmlns:a16="http://schemas.microsoft.com/office/drawing/2014/main" id="{CD15A9A1-5974-42A3-AFBF-79AA6A3F0888}"/>
                  </a:ext>
                </a:extLst>
              </p:cNvPr>
              <p:cNvSpPr/>
              <p:nvPr/>
            </p:nvSpPr>
            <p:spPr>
              <a:xfrm>
                <a:off x="1830571" y="533367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6" name="Freeform: Shape 635">
                <a:extLst>
                  <a:ext uri="{FF2B5EF4-FFF2-40B4-BE49-F238E27FC236}">
                    <a16:creationId xmlns:a16="http://schemas.microsoft.com/office/drawing/2014/main" id="{347BB831-A6D7-42B2-9FA5-9E5086C235FF}"/>
                  </a:ext>
                </a:extLst>
              </p:cNvPr>
              <p:cNvSpPr/>
              <p:nvPr/>
            </p:nvSpPr>
            <p:spPr>
              <a:xfrm>
                <a:off x="1830571" y="5382590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37" name="Freeform: Shape 636">
                <a:extLst>
                  <a:ext uri="{FF2B5EF4-FFF2-40B4-BE49-F238E27FC236}">
                    <a16:creationId xmlns:a16="http://schemas.microsoft.com/office/drawing/2014/main" id="{5A46D121-3651-4187-BC0B-7D2FB84DAB65}"/>
                  </a:ext>
                </a:extLst>
              </p:cNvPr>
              <p:cNvSpPr/>
              <p:nvPr/>
            </p:nvSpPr>
            <p:spPr>
              <a:xfrm>
                <a:off x="1830571" y="543150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74AE6440-EF04-4B1E-A58B-24A0F8EF3CAE}"/>
                </a:ext>
              </a:extLst>
            </p:cNvPr>
            <p:cNvGrpSpPr/>
            <p:nvPr/>
          </p:nvGrpSpPr>
          <p:grpSpPr>
            <a:xfrm>
              <a:off x="4031755" y="1923395"/>
              <a:ext cx="76730" cy="557056"/>
              <a:chOff x="1830571" y="4893631"/>
              <a:chExt cx="76730" cy="557056"/>
            </a:xfrm>
          </p:grpSpPr>
          <p:sp>
            <p:nvSpPr>
              <p:cNvPr id="614" name="Freeform: Shape 613">
                <a:extLst>
                  <a:ext uri="{FF2B5EF4-FFF2-40B4-BE49-F238E27FC236}">
                    <a16:creationId xmlns:a16="http://schemas.microsoft.com/office/drawing/2014/main" id="{6C4198B8-D4DB-44C6-8825-F4443DBFF6A9}"/>
                  </a:ext>
                </a:extLst>
              </p:cNvPr>
              <p:cNvSpPr/>
              <p:nvPr/>
            </p:nvSpPr>
            <p:spPr>
              <a:xfrm>
                <a:off x="1830571" y="489363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5" name="Freeform: Shape 614">
                <a:extLst>
                  <a:ext uri="{FF2B5EF4-FFF2-40B4-BE49-F238E27FC236}">
                    <a16:creationId xmlns:a16="http://schemas.microsoft.com/office/drawing/2014/main" id="{885290D9-2240-4739-84D5-6D4D57655CD4}"/>
                  </a:ext>
                </a:extLst>
              </p:cNvPr>
              <p:cNvSpPr/>
              <p:nvPr/>
            </p:nvSpPr>
            <p:spPr>
              <a:xfrm>
                <a:off x="1830571" y="494254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6" name="Freeform: Shape 615">
                <a:extLst>
                  <a:ext uri="{FF2B5EF4-FFF2-40B4-BE49-F238E27FC236}">
                    <a16:creationId xmlns:a16="http://schemas.microsoft.com/office/drawing/2014/main" id="{71A96D75-AAE4-402C-8CD1-B4512E5F4BF8}"/>
                  </a:ext>
                </a:extLst>
              </p:cNvPr>
              <p:cNvSpPr/>
              <p:nvPr/>
            </p:nvSpPr>
            <p:spPr>
              <a:xfrm>
                <a:off x="1830571" y="499146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7" name="Freeform: Shape 616">
                <a:extLst>
                  <a:ext uri="{FF2B5EF4-FFF2-40B4-BE49-F238E27FC236}">
                    <a16:creationId xmlns:a16="http://schemas.microsoft.com/office/drawing/2014/main" id="{5E486A5D-3CEC-4D42-8EB5-2859F6ABDA02}"/>
                  </a:ext>
                </a:extLst>
              </p:cNvPr>
              <p:cNvSpPr/>
              <p:nvPr/>
            </p:nvSpPr>
            <p:spPr>
              <a:xfrm>
                <a:off x="1830571" y="504037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8" name="Freeform: Shape 617">
                <a:extLst>
                  <a:ext uri="{FF2B5EF4-FFF2-40B4-BE49-F238E27FC236}">
                    <a16:creationId xmlns:a16="http://schemas.microsoft.com/office/drawing/2014/main" id="{82D41E9C-B878-4F3E-B717-70EAA4BDF849}"/>
                  </a:ext>
                </a:extLst>
              </p:cNvPr>
              <p:cNvSpPr/>
              <p:nvPr/>
            </p:nvSpPr>
            <p:spPr>
              <a:xfrm>
                <a:off x="1830571" y="508929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19" name="Freeform: Shape 618">
                <a:extLst>
                  <a:ext uri="{FF2B5EF4-FFF2-40B4-BE49-F238E27FC236}">
                    <a16:creationId xmlns:a16="http://schemas.microsoft.com/office/drawing/2014/main" id="{B91FA553-87D7-4149-853E-A4AC5A9D2152}"/>
                  </a:ext>
                </a:extLst>
              </p:cNvPr>
              <p:cNvSpPr/>
              <p:nvPr/>
            </p:nvSpPr>
            <p:spPr>
              <a:xfrm>
                <a:off x="1830571" y="513820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0" name="Freeform: Shape 619">
                <a:extLst>
                  <a:ext uri="{FF2B5EF4-FFF2-40B4-BE49-F238E27FC236}">
                    <a16:creationId xmlns:a16="http://schemas.microsoft.com/office/drawing/2014/main" id="{2EB38C04-F271-4C72-BA44-376FB1EC1452}"/>
                  </a:ext>
                </a:extLst>
              </p:cNvPr>
              <p:cNvSpPr/>
              <p:nvPr/>
            </p:nvSpPr>
            <p:spPr>
              <a:xfrm>
                <a:off x="1830571" y="518712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1" name="Freeform: Shape 620">
                <a:extLst>
                  <a:ext uri="{FF2B5EF4-FFF2-40B4-BE49-F238E27FC236}">
                    <a16:creationId xmlns:a16="http://schemas.microsoft.com/office/drawing/2014/main" id="{22D8BF23-69F6-44B9-910B-828E706CDCDC}"/>
                  </a:ext>
                </a:extLst>
              </p:cNvPr>
              <p:cNvSpPr/>
              <p:nvPr/>
            </p:nvSpPr>
            <p:spPr>
              <a:xfrm>
                <a:off x="1830571" y="5236036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2" name="Freeform: Shape 621">
                <a:extLst>
                  <a:ext uri="{FF2B5EF4-FFF2-40B4-BE49-F238E27FC236}">
                    <a16:creationId xmlns:a16="http://schemas.microsoft.com/office/drawing/2014/main" id="{4C82C82D-9D75-4823-9741-D384326F641A}"/>
                  </a:ext>
                </a:extLst>
              </p:cNvPr>
              <p:cNvSpPr/>
              <p:nvPr/>
            </p:nvSpPr>
            <p:spPr>
              <a:xfrm>
                <a:off x="1830571" y="5284951"/>
                <a:ext cx="76730" cy="19182"/>
              </a:xfrm>
              <a:custGeom>
                <a:avLst/>
                <a:gdLst>
                  <a:gd name="connsiteX0" fmla="*/ 0 w 76729"/>
                  <a:gd name="connsiteY0" fmla="*/ 35871 h 19182"/>
                  <a:gd name="connsiteX1" fmla="*/ 40283 w 76729"/>
                  <a:gd name="connsiteY1" fmla="*/ 0 h 19182"/>
                  <a:gd name="connsiteX2" fmla="*/ 80758 w 76729"/>
                  <a:gd name="connsiteY2" fmla="*/ 35871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5871"/>
                    </a:moveTo>
                    <a:lnTo>
                      <a:pt x="40283" y="0"/>
                    </a:lnTo>
                    <a:lnTo>
                      <a:pt x="80758" y="35871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3" name="Freeform: Shape 622">
                <a:extLst>
                  <a:ext uri="{FF2B5EF4-FFF2-40B4-BE49-F238E27FC236}">
                    <a16:creationId xmlns:a16="http://schemas.microsoft.com/office/drawing/2014/main" id="{9E7F6BBF-4866-4B31-A24E-23A6B9FF2DDD}"/>
                  </a:ext>
                </a:extLst>
              </p:cNvPr>
              <p:cNvSpPr/>
              <p:nvPr/>
            </p:nvSpPr>
            <p:spPr>
              <a:xfrm>
                <a:off x="1830571" y="533367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4" name="Freeform: Shape 623">
                <a:extLst>
                  <a:ext uri="{FF2B5EF4-FFF2-40B4-BE49-F238E27FC236}">
                    <a16:creationId xmlns:a16="http://schemas.microsoft.com/office/drawing/2014/main" id="{A598DED7-2D9E-4D0D-A2FC-0C012C722DF9}"/>
                  </a:ext>
                </a:extLst>
              </p:cNvPr>
              <p:cNvSpPr/>
              <p:nvPr/>
            </p:nvSpPr>
            <p:spPr>
              <a:xfrm>
                <a:off x="1830571" y="5382590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5" name="Freeform: Shape 624">
                <a:extLst>
                  <a:ext uri="{FF2B5EF4-FFF2-40B4-BE49-F238E27FC236}">
                    <a16:creationId xmlns:a16="http://schemas.microsoft.com/office/drawing/2014/main" id="{3C51CBAF-2240-48D4-B04B-2D18FA3B8C8E}"/>
                  </a:ext>
                </a:extLst>
              </p:cNvPr>
              <p:cNvSpPr/>
              <p:nvPr/>
            </p:nvSpPr>
            <p:spPr>
              <a:xfrm>
                <a:off x="1830571" y="5431505"/>
                <a:ext cx="76730" cy="19182"/>
              </a:xfrm>
              <a:custGeom>
                <a:avLst/>
                <a:gdLst>
                  <a:gd name="connsiteX0" fmla="*/ 0 w 76729"/>
                  <a:gd name="connsiteY0" fmla="*/ 36063 h 19182"/>
                  <a:gd name="connsiteX1" fmla="*/ 40283 w 76729"/>
                  <a:gd name="connsiteY1" fmla="*/ 0 h 19182"/>
                  <a:gd name="connsiteX2" fmla="*/ 80758 w 76729"/>
                  <a:gd name="connsiteY2" fmla="*/ 36063 h 1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9" h="19182">
                    <a:moveTo>
                      <a:pt x="0" y="36063"/>
                    </a:moveTo>
                    <a:lnTo>
                      <a:pt x="40283" y="0"/>
                    </a:lnTo>
                    <a:lnTo>
                      <a:pt x="80758" y="36063"/>
                    </a:lnTo>
                  </a:path>
                </a:pathLst>
              </a:custGeom>
              <a:noFill/>
              <a:ln w="952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A9C52C6-5060-42BE-B0BE-C3F36004C97B}"/>
              </a:ext>
            </a:extLst>
          </p:cNvPr>
          <p:cNvSpPr txBox="1"/>
          <p:nvPr/>
        </p:nvSpPr>
        <p:spPr>
          <a:xfrm>
            <a:off x="1483928" y="431551"/>
            <a:ext cx="1744580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08266DA-A506-4ABD-B0A9-ECE0996E30AE}"/>
              </a:ext>
            </a:extLst>
          </p:cNvPr>
          <p:cNvGrpSpPr/>
          <p:nvPr/>
        </p:nvGrpSpPr>
        <p:grpSpPr>
          <a:xfrm>
            <a:off x="308465" y="5612774"/>
            <a:ext cx="11883535" cy="658368"/>
            <a:chOff x="304975" y="5629508"/>
            <a:chExt cx="11883535" cy="655389"/>
          </a:xfrm>
        </p:grpSpPr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9B2C36A4-19E0-4E6C-A8BD-028369ABF3E8}"/>
                </a:ext>
              </a:extLst>
            </p:cNvPr>
            <p:cNvSpPr/>
            <p:nvPr/>
          </p:nvSpPr>
          <p:spPr bwMode="auto">
            <a:xfrm flipH="1">
              <a:off x="1398590" y="5629508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endParaRPr>
            </a:p>
          </p:txBody>
        </p: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447D24CF-41CC-4636-9CCD-34000CF8F4F4}"/>
                </a:ext>
              </a:extLst>
            </p:cNvPr>
            <p:cNvCxnSpPr>
              <a:cxnSpLocks/>
            </p:cNvCxnSpPr>
            <p:nvPr/>
          </p:nvCxnSpPr>
          <p:spPr>
            <a:xfrm>
              <a:off x="2229971" y="562950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F311206C-EE11-4C70-B164-E2CAAFE41AFF}"/>
                </a:ext>
              </a:extLst>
            </p:cNvPr>
            <p:cNvSpPr/>
            <p:nvPr/>
          </p:nvSpPr>
          <p:spPr bwMode="auto">
            <a:xfrm>
              <a:off x="304975" y="5629508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Azure Stack</a:t>
              </a:r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243C0B68-3E9D-447B-A342-BCF99E941F4A}"/>
                </a:ext>
              </a:extLst>
            </p:cNvPr>
            <p:cNvCxnSpPr>
              <a:cxnSpLocks/>
            </p:cNvCxnSpPr>
            <p:nvPr/>
          </p:nvCxnSpPr>
          <p:spPr>
            <a:xfrm>
              <a:off x="3186186" y="562950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E05D1829-425D-45AB-B868-AC85F752619B}"/>
                </a:ext>
              </a:extLst>
            </p:cNvPr>
            <p:cNvCxnSpPr>
              <a:cxnSpLocks/>
            </p:cNvCxnSpPr>
            <p:nvPr/>
          </p:nvCxnSpPr>
          <p:spPr>
            <a:xfrm>
              <a:off x="4142401" y="562950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E7DEECE-DA81-4EC0-960D-7185877B5B83}"/>
                </a:ext>
              </a:extLst>
            </p:cNvPr>
            <p:cNvGrpSpPr/>
            <p:nvPr/>
          </p:nvGrpSpPr>
          <p:grpSpPr>
            <a:xfrm>
              <a:off x="1554774" y="5707136"/>
              <a:ext cx="477069" cy="519388"/>
              <a:chOff x="5829553" y="5692510"/>
              <a:chExt cx="477069" cy="519388"/>
            </a:xfrm>
          </p:grpSpPr>
          <p:sp>
            <p:nvSpPr>
              <p:cNvPr id="481" name="TextBox 480">
                <a:extLst>
                  <a:ext uri="{FF2B5EF4-FFF2-40B4-BE49-F238E27FC236}">
                    <a16:creationId xmlns:a16="http://schemas.microsoft.com/office/drawing/2014/main" id="{9024DBF3-9709-4A08-AE0A-615F578AA4A8}"/>
                  </a:ext>
                </a:extLst>
              </p:cNvPr>
              <p:cNvSpPr txBox="1"/>
              <p:nvPr/>
            </p:nvSpPr>
            <p:spPr>
              <a:xfrm>
                <a:off x="5829553" y="6017999"/>
                <a:ext cx="477069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86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Stack Hub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  <p:pic>
            <p:nvPicPr>
              <p:cNvPr id="485" name="Picture 484">
                <a:extLst>
                  <a:ext uri="{FF2B5EF4-FFF2-40B4-BE49-F238E27FC236}">
                    <a16:creationId xmlns:a16="http://schemas.microsoft.com/office/drawing/2014/main" id="{483E1717-1798-43D1-9918-A02FE92FD4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5930927" y="5692510"/>
                <a:ext cx="274320" cy="274320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4D96729-C19F-4073-B5C9-7486045ABB3A}"/>
                </a:ext>
              </a:extLst>
            </p:cNvPr>
            <p:cNvGrpSpPr/>
            <p:nvPr/>
          </p:nvGrpSpPr>
          <p:grpSpPr>
            <a:xfrm>
              <a:off x="4357422" y="5707158"/>
              <a:ext cx="494685" cy="519366"/>
              <a:chOff x="7275309" y="5692510"/>
              <a:chExt cx="494685" cy="519366"/>
            </a:xfrm>
          </p:grpSpPr>
          <p:sp>
            <p:nvSpPr>
              <p:cNvPr id="489" name="TextBox 488">
                <a:extLst>
                  <a:ext uri="{FF2B5EF4-FFF2-40B4-BE49-F238E27FC236}">
                    <a16:creationId xmlns:a16="http://schemas.microsoft.com/office/drawing/2014/main" id="{7BC66AEE-6B03-4E08-A77C-C63531921AF1}"/>
                  </a:ext>
                </a:extLst>
              </p:cNvPr>
              <p:cNvSpPr txBox="1"/>
              <p:nvPr/>
            </p:nvSpPr>
            <p:spPr>
              <a:xfrm>
                <a:off x="7275309" y="6017977"/>
                <a:ext cx="494685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Stack Hub User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  <p:pic>
            <p:nvPicPr>
              <p:cNvPr id="490" name="Picture 489">
                <a:extLst>
                  <a:ext uri="{FF2B5EF4-FFF2-40B4-BE49-F238E27FC236}">
                    <a16:creationId xmlns:a16="http://schemas.microsoft.com/office/drawing/2014/main" id="{00DD3382-DE4D-4053-A813-817BEF8FC1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7385491" y="5692510"/>
                <a:ext cx="274320" cy="274320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280D2A0-10E1-4651-ADE9-CE069B8FB7E1}"/>
                </a:ext>
              </a:extLst>
            </p:cNvPr>
            <p:cNvGrpSpPr/>
            <p:nvPr/>
          </p:nvGrpSpPr>
          <p:grpSpPr>
            <a:xfrm>
              <a:off x="5190584" y="5707158"/>
              <a:ext cx="746561" cy="519366"/>
              <a:chOff x="7889336" y="5692510"/>
              <a:chExt cx="746561" cy="519366"/>
            </a:xfrm>
          </p:grpSpPr>
          <p:sp>
            <p:nvSpPr>
              <p:cNvPr id="492" name="TextBox 491">
                <a:extLst>
                  <a:ext uri="{FF2B5EF4-FFF2-40B4-BE49-F238E27FC236}">
                    <a16:creationId xmlns:a16="http://schemas.microsoft.com/office/drawing/2014/main" id="{B21B50EE-8EA7-46DE-B0CE-7ED883667C2B}"/>
                  </a:ext>
                </a:extLst>
              </p:cNvPr>
              <p:cNvSpPr txBox="1"/>
              <p:nvPr/>
            </p:nvSpPr>
            <p:spPr>
              <a:xfrm>
                <a:off x="7889336" y="6017977"/>
                <a:ext cx="74656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8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Stack Hub Dev Kit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  <p:pic>
            <p:nvPicPr>
              <p:cNvPr id="493" name="Picture 492">
                <a:extLst>
                  <a:ext uri="{FF2B5EF4-FFF2-40B4-BE49-F238E27FC236}">
                    <a16:creationId xmlns:a16="http://schemas.microsoft.com/office/drawing/2014/main" id="{517F47A9-4440-4594-AE09-C7C7CC9EAE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7"/>
              <a:stretch>
                <a:fillRect/>
              </a:stretch>
            </p:blipFill>
            <p:spPr>
              <a:xfrm>
                <a:off x="8125456" y="5692510"/>
                <a:ext cx="274320" cy="274320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695739D-8333-443E-B864-594F5E53A2B1}"/>
                </a:ext>
              </a:extLst>
            </p:cNvPr>
            <p:cNvGrpSpPr/>
            <p:nvPr/>
          </p:nvGrpSpPr>
          <p:grpSpPr>
            <a:xfrm>
              <a:off x="2443510" y="5778019"/>
              <a:ext cx="502543" cy="448505"/>
              <a:chOff x="6322963" y="5763393"/>
              <a:chExt cx="502543" cy="448505"/>
            </a:xfrm>
          </p:grpSpPr>
          <p:sp>
            <p:nvSpPr>
              <p:cNvPr id="496" name="TextBox 495">
                <a:extLst>
                  <a:ext uri="{FF2B5EF4-FFF2-40B4-BE49-F238E27FC236}">
                    <a16:creationId xmlns:a16="http://schemas.microsoft.com/office/drawing/2014/main" id="{A7DF3DAB-9417-42C0-A50F-5A407FBAF157}"/>
                  </a:ext>
                </a:extLst>
              </p:cNvPr>
              <p:cNvSpPr txBox="1"/>
              <p:nvPr/>
            </p:nvSpPr>
            <p:spPr>
              <a:xfrm>
                <a:off x="6322963" y="6017999"/>
                <a:ext cx="502543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9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Stack </a:t>
                </a:r>
              </a:p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9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Edge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  <p:pic>
            <p:nvPicPr>
              <p:cNvPr id="497" name="Picture 496">
                <a:extLst>
                  <a:ext uri="{FF2B5EF4-FFF2-40B4-BE49-F238E27FC236}">
                    <a16:creationId xmlns:a16="http://schemas.microsoft.com/office/drawing/2014/main" id="{4C133180-963D-4ACA-93E1-7B42C295C1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1"/>
              <a:stretch>
                <a:fillRect/>
              </a:stretch>
            </p:blipFill>
            <p:spPr>
              <a:xfrm>
                <a:off x="6418786" y="5763393"/>
                <a:ext cx="310896" cy="200146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E2B31AD-D0FE-4B6A-8BCC-2EFDFAC181E6}"/>
                </a:ext>
              </a:extLst>
            </p:cNvPr>
            <p:cNvGrpSpPr/>
            <p:nvPr/>
          </p:nvGrpSpPr>
          <p:grpSpPr>
            <a:xfrm>
              <a:off x="3416830" y="5734612"/>
              <a:ext cx="494685" cy="491912"/>
              <a:chOff x="6795107" y="5719986"/>
              <a:chExt cx="494685" cy="491912"/>
            </a:xfrm>
          </p:grpSpPr>
          <p:pic>
            <p:nvPicPr>
              <p:cNvPr id="499" name="Picture 498">
                <a:extLst>
                  <a:ext uri="{FF2B5EF4-FFF2-40B4-BE49-F238E27FC236}">
                    <a16:creationId xmlns:a16="http://schemas.microsoft.com/office/drawing/2014/main" id="{564C7E21-D3F2-4CE3-8CC2-A3A94D676B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/>
              <a:stretch>
                <a:fillRect/>
              </a:stretch>
            </p:blipFill>
            <p:spPr>
              <a:xfrm>
                <a:off x="6905289" y="5719986"/>
                <a:ext cx="274320" cy="274320"/>
              </a:xfrm>
              <a:prstGeom prst="rect">
                <a:avLst/>
              </a:prstGeom>
            </p:spPr>
          </p:pic>
          <p:sp>
            <p:nvSpPr>
              <p:cNvPr id="500" name="TextBox 499">
                <a:extLst>
                  <a:ext uri="{FF2B5EF4-FFF2-40B4-BE49-F238E27FC236}">
                    <a16:creationId xmlns:a16="http://schemas.microsoft.com/office/drawing/2014/main" id="{7066B5D6-D932-42F9-B25E-81CF25157D25}"/>
                  </a:ext>
                </a:extLst>
              </p:cNvPr>
              <p:cNvSpPr txBox="1"/>
              <p:nvPr/>
            </p:nvSpPr>
            <p:spPr>
              <a:xfrm>
                <a:off x="6795107" y="6017999"/>
                <a:ext cx="494685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30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9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Stack Hub HCI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</p:grp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B9F9A4F9-645A-459D-B84E-DB690FD71CB1}"/>
                </a:ext>
              </a:extLst>
            </p:cNvPr>
            <p:cNvCxnSpPr>
              <a:cxnSpLocks/>
            </p:cNvCxnSpPr>
            <p:nvPr/>
          </p:nvCxnSpPr>
          <p:spPr>
            <a:xfrm>
              <a:off x="5098615" y="562950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9EEC15-C16B-40E6-B996-CB101FBEDDD3}"/>
              </a:ext>
            </a:extLst>
          </p:cNvPr>
          <p:cNvGrpSpPr/>
          <p:nvPr/>
        </p:nvGrpSpPr>
        <p:grpSpPr>
          <a:xfrm>
            <a:off x="304975" y="3900222"/>
            <a:ext cx="11883535" cy="655389"/>
            <a:chOff x="304975" y="3900222"/>
            <a:chExt cx="11883535" cy="655389"/>
          </a:xfrm>
        </p:grpSpPr>
        <p:sp>
          <p:nvSpPr>
            <p:cNvPr id="354" name="Rectangle 353">
              <a:extLst>
                <a:ext uri="{FF2B5EF4-FFF2-40B4-BE49-F238E27FC236}">
                  <a16:creationId xmlns:a16="http://schemas.microsoft.com/office/drawing/2014/main" id="{B91B0B3F-3152-4E93-BD7A-341EC02F48CC}"/>
                </a:ext>
              </a:extLst>
            </p:cNvPr>
            <p:cNvSpPr/>
            <p:nvPr/>
          </p:nvSpPr>
          <p:spPr bwMode="auto">
            <a:xfrm flipH="1">
              <a:off x="1398590" y="390022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C8270F9-37D7-4C8A-96B4-131CC69EB034}"/>
                </a:ext>
              </a:extLst>
            </p:cNvPr>
            <p:cNvSpPr txBox="1"/>
            <p:nvPr/>
          </p:nvSpPr>
          <p:spPr>
            <a:xfrm>
              <a:off x="6451730" y="4301902"/>
              <a:ext cx="336631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tch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86" name="Graphic 285">
              <a:extLst>
                <a:ext uri="{FF2B5EF4-FFF2-40B4-BE49-F238E27FC236}">
                  <a16:creationId xmlns:a16="http://schemas.microsoft.com/office/drawing/2014/main" id="{268FCDBF-1573-4012-9CC7-3EA1E0B9D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5">
              <a:extLst>
                <a:ext uri="{96DAC541-7B7A-43D3-8B79-37D633B846F1}">
                  <asvg:svgBlip xmlns:asvg="http://schemas.microsoft.com/office/drawing/2016/SVG/main" r:embed="rId96"/>
                </a:ext>
              </a:extLst>
            </a:blip>
            <a:stretch>
              <a:fillRect/>
            </a:stretch>
          </p:blipFill>
          <p:spPr>
            <a:xfrm>
              <a:off x="6495383" y="3953037"/>
              <a:ext cx="249325" cy="249325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30DCC68-548D-4ABA-9202-259ED870413A}"/>
                </a:ext>
              </a:extLst>
            </p:cNvPr>
            <p:cNvSpPr txBox="1"/>
            <p:nvPr/>
          </p:nvSpPr>
          <p:spPr>
            <a:xfrm>
              <a:off x="5366923" y="4297682"/>
              <a:ext cx="452046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licatio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9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87" name="Graphic 286">
              <a:extLst>
                <a:ext uri="{FF2B5EF4-FFF2-40B4-BE49-F238E27FC236}">
                  <a16:creationId xmlns:a16="http://schemas.microsoft.com/office/drawing/2014/main" id="{1D456B2A-C1F4-44E2-8089-E215AF77B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98">
              <a:extLst>
                <a:ext uri="{96DAC541-7B7A-43D3-8B79-37D633B846F1}">
                  <asvg:svgBlip xmlns:asvg="http://schemas.microsoft.com/office/drawing/2016/SVG/main" r:embed="rId99"/>
                </a:ext>
              </a:extLst>
            </a:blip>
            <a:stretch>
              <a:fillRect/>
            </a:stretch>
          </p:blipFill>
          <p:spPr>
            <a:xfrm>
              <a:off x="5468284" y="3953037"/>
              <a:ext cx="249325" cy="249325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8306F1B-2BFE-4900-BC3B-546A61929C42}"/>
                </a:ext>
              </a:extLst>
            </p:cNvPr>
            <p:cNvSpPr txBox="1"/>
            <p:nvPr/>
          </p:nvSpPr>
          <p:spPr>
            <a:xfrm>
              <a:off x="6883788" y="4301902"/>
              <a:ext cx="296554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rewal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88" name="Graphic 287">
              <a:extLst>
                <a:ext uri="{FF2B5EF4-FFF2-40B4-BE49-F238E27FC236}">
                  <a16:creationId xmlns:a16="http://schemas.microsoft.com/office/drawing/2014/main" id="{A4BE6EA0-368D-4B37-A488-2EA46B78FA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1">
              <a:extLst>
                <a:ext uri="{96DAC541-7B7A-43D3-8B79-37D633B846F1}">
                  <asvg:svgBlip xmlns:asvg="http://schemas.microsoft.com/office/drawing/2016/SVG/main" r:embed="rId102"/>
                </a:ext>
              </a:extLst>
            </a:blip>
            <a:stretch>
              <a:fillRect/>
            </a:stretch>
          </p:blipFill>
          <p:spPr>
            <a:xfrm>
              <a:off x="6907402" y="3953037"/>
              <a:ext cx="249325" cy="249325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461DD12-867D-4A0B-A1A9-746213929E70}"/>
                </a:ext>
              </a:extLst>
            </p:cNvPr>
            <p:cNvSpPr txBox="1"/>
            <p:nvPr/>
          </p:nvSpPr>
          <p:spPr>
            <a:xfrm>
              <a:off x="1947470" y="4297682"/>
              <a:ext cx="678071" cy="1938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ent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livery Network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89" name="Graphic 288">
              <a:extLst>
                <a:ext uri="{FF2B5EF4-FFF2-40B4-BE49-F238E27FC236}">
                  <a16:creationId xmlns:a16="http://schemas.microsoft.com/office/drawing/2014/main" id="{633CD04A-3994-4D20-BECC-B9E402A58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4">
              <a:extLst>
                <a:ext uri="{96DAC541-7B7A-43D3-8B79-37D633B846F1}">
                  <asvg:svgBlip xmlns:asvg="http://schemas.microsoft.com/office/drawing/2016/SVG/main" r:embed="rId105"/>
                </a:ext>
              </a:extLst>
            </a:blip>
            <a:stretch>
              <a:fillRect/>
            </a:stretch>
          </p:blipFill>
          <p:spPr>
            <a:xfrm>
              <a:off x="2144305" y="4000259"/>
              <a:ext cx="284401" cy="284401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5237A29-E6A4-47C6-A850-A386CFB98668}"/>
                </a:ext>
              </a:extLst>
            </p:cNvPr>
            <p:cNvSpPr txBox="1"/>
            <p:nvPr/>
          </p:nvSpPr>
          <p:spPr>
            <a:xfrm>
              <a:off x="5893917" y="4301902"/>
              <a:ext cx="476091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Do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4F9D98EB-FF5B-4ED2-904F-83332518D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7">
              <a:extLst>
                <a:ext uri="{96DAC541-7B7A-43D3-8B79-37D633B846F1}">
                  <asvg:svgBlip xmlns:asvg="http://schemas.microsoft.com/office/drawing/2016/SVG/main" r:embed="rId108"/>
                </a:ext>
              </a:extLst>
            </a:blip>
            <a:stretch>
              <a:fillRect/>
            </a:stretch>
          </p:blipFill>
          <p:spPr>
            <a:xfrm>
              <a:off x="6048314" y="3958336"/>
              <a:ext cx="167297" cy="228130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1C88B48-3B13-4395-B6AF-8A7C5E250867}"/>
                </a:ext>
              </a:extLst>
            </p:cNvPr>
            <p:cNvSpPr txBox="1"/>
            <p:nvPr/>
          </p:nvSpPr>
          <p:spPr>
            <a:xfrm>
              <a:off x="3268203" y="4297682"/>
              <a:ext cx="428002" cy="9695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N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1" name="Graphic 290">
              <a:extLst>
                <a:ext uri="{FF2B5EF4-FFF2-40B4-BE49-F238E27FC236}">
                  <a16:creationId xmlns:a16="http://schemas.microsoft.com/office/drawing/2014/main" id="{C8B6A45C-1477-4FAC-89B0-EFAC91942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0">
              <a:extLst>
                <a:ext uri="{96DAC541-7B7A-43D3-8B79-37D633B846F1}">
                  <asvg:svgBlip xmlns:asvg="http://schemas.microsoft.com/office/drawing/2016/SVG/main" r:embed="rId111"/>
                </a:ext>
              </a:extLst>
            </a:blip>
            <a:stretch>
              <a:fillRect/>
            </a:stretch>
          </p:blipFill>
          <p:spPr>
            <a:xfrm>
              <a:off x="3357540" y="4001511"/>
              <a:ext cx="249325" cy="249325"/>
            </a:xfrm>
            <a:prstGeom prst="rect">
              <a:avLst/>
            </a:prstGeom>
          </p:spPr>
        </p:pic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A6188E41-2B97-44BF-AF12-E11A0F88C235}"/>
                </a:ext>
              </a:extLst>
            </p:cNvPr>
            <p:cNvSpPr txBox="1"/>
            <p:nvPr/>
          </p:nvSpPr>
          <p:spPr>
            <a:xfrm>
              <a:off x="7316559" y="4301902"/>
              <a:ext cx="501739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Front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oor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3" name="Graphic 292">
              <a:extLst>
                <a:ext uri="{FF2B5EF4-FFF2-40B4-BE49-F238E27FC236}">
                  <a16:creationId xmlns:a16="http://schemas.microsoft.com/office/drawing/2014/main" id="{2A04FF8F-7F67-4633-93E0-B8C271C90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3">
              <a:extLst>
                <a:ext uri="{96DAC541-7B7A-43D3-8B79-37D633B846F1}">
                  <asvg:svgBlip xmlns:asvg="http://schemas.microsoft.com/office/drawing/2016/SVG/main" r:embed="rId114"/>
                </a:ext>
              </a:extLst>
            </a:blip>
            <a:stretch>
              <a:fillRect/>
            </a:stretch>
          </p:blipFill>
          <p:spPr>
            <a:xfrm>
              <a:off x="7442767" y="3953037"/>
              <a:ext cx="249325" cy="249325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47390D5-5E48-4544-9CF6-EF4D1391F14E}"/>
                </a:ext>
              </a:extLst>
            </p:cNvPr>
            <p:cNvSpPr txBox="1"/>
            <p:nvPr/>
          </p:nvSpPr>
          <p:spPr>
            <a:xfrm>
              <a:off x="4554722" y="4297682"/>
              <a:ext cx="333424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ad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lanc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4" name="Graphic 293">
              <a:extLst>
                <a:ext uri="{FF2B5EF4-FFF2-40B4-BE49-F238E27FC236}">
                  <a16:creationId xmlns:a16="http://schemas.microsoft.com/office/drawing/2014/main" id="{C381E789-B405-45A8-A712-398EE6EAD6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6">
              <a:extLst>
                <a:ext uri="{96DAC541-7B7A-43D3-8B79-37D633B846F1}">
                  <asvg:svgBlip xmlns:asvg="http://schemas.microsoft.com/office/drawing/2016/SVG/main" r:embed="rId117"/>
                </a:ext>
              </a:extLst>
            </a:blip>
            <a:stretch>
              <a:fillRect/>
            </a:stretch>
          </p:blipFill>
          <p:spPr>
            <a:xfrm>
              <a:off x="4596771" y="3953037"/>
              <a:ext cx="249325" cy="249325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9075A68-BA44-4D39-9EE6-BF52D869878E}"/>
                </a:ext>
              </a:extLst>
            </p:cNvPr>
            <p:cNvSpPr txBox="1"/>
            <p:nvPr/>
          </p:nvSpPr>
          <p:spPr>
            <a:xfrm>
              <a:off x="4128095" y="4297682"/>
              <a:ext cx="351058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ffic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5" name="Graphic 294">
              <a:extLst>
                <a:ext uri="{FF2B5EF4-FFF2-40B4-BE49-F238E27FC236}">
                  <a16:creationId xmlns:a16="http://schemas.microsoft.com/office/drawing/2014/main" id="{15D1DC7C-0C6D-4BCB-AF71-9FE527378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9">
              <a:extLst>
                <a:ext uri="{96DAC541-7B7A-43D3-8B79-37D633B846F1}">
                  <asvg:svgBlip xmlns:asvg="http://schemas.microsoft.com/office/drawing/2016/SVG/main" r:embed="rId120"/>
                </a:ext>
              </a:extLst>
            </a:blip>
            <a:stretch>
              <a:fillRect/>
            </a:stretch>
          </p:blipFill>
          <p:spPr>
            <a:xfrm>
              <a:off x="4178960" y="3953037"/>
              <a:ext cx="249326" cy="249325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3BEAE62-F926-4F39-ABE6-A7CB3AD6974C}"/>
                </a:ext>
              </a:extLst>
            </p:cNvPr>
            <p:cNvSpPr txBox="1"/>
            <p:nvPr/>
          </p:nvSpPr>
          <p:spPr>
            <a:xfrm>
              <a:off x="4963562" y="4297682"/>
              <a:ext cx="335028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P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6" name="Graphic 295">
              <a:extLst>
                <a:ext uri="{FF2B5EF4-FFF2-40B4-BE49-F238E27FC236}">
                  <a16:creationId xmlns:a16="http://schemas.microsoft.com/office/drawing/2014/main" id="{2F984206-979C-4DBB-A8AB-DC27DB7F1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2">
              <a:extLst>
                <a:ext uri="{96DAC541-7B7A-43D3-8B79-37D633B846F1}">
                  <asvg:svgBlip xmlns:asvg="http://schemas.microsoft.com/office/drawing/2016/SVG/main" r:embed="rId123"/>
                </a:ext>
              </a:extLst>
            </a:blip>
            <a:stretch>
              <a:fillRect/>
            </a:stretch>
          </p:blipFill>
          <p:spPr>
            <a:xfrm>
              <a:off x="5006413" y="3953037"/>
              <a:ext cx="249326" cy="249325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008B4C1-F811-4433-9CC3-54441AE19131}"/>
                </a:ext>
              </a:extLst>
            </p:cNvPr>
            <p:cNvSpPr txBox="1"/>
            <p:nvPr/>
          </p:nvSpPr>
          <p:spPr>
            <a:xfrm>
              <a:off x="3744066" y="4297682"/>
              <a:ext cx="336631" cy="1938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97" name="Graphic 296">
              <a:extLst>
                <a:ext uri="{FF2B5EF4-FFF2-40B4-BE49-F238E27FC236}">
                  <a16:creationId xmlns:a16="http://schemas.microsoft.com/office/drawing/2014/main" id="{9C4B12DF-5976-4530-989E-6EC6B6443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5">
              <a:extLst>
                <a:ext uri="{96DAC541-7B7A-43D3-8B79-37D633B846F1}">
                  <asvg:svgBlip xmlns:asvg="http://schemas.microsoft.com/office/drawing/2016/SVG/main" r:embed="rId126"/>
                </a:ext>
              </a:extLst>
            </a:blip>
            <a:stretch>
              <a:fillRect/>
            </a:stretch>
          </p:blipFill>
          <p:spPr>
            <a:xfrm>
              <a:off x="3787718" y="3953037"/>
              <a:ext cx="249325" cy="249325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E7F0F3-85F9-484E-A442-9350FCBC7933}"/>
                </a:ext>
              </a:extLst>
            </p:cNvPr>
            <p:cNvSpPr txBox="1"/>
            <p:nvPr/>
          </p:nvSpPr>
          <p:spPr>
            <a:xfrm>
              <a:off x="2679716" y="4297682"/>
              <a:ext cx="527388" cy="9695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pressRout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249C39E-E30F-48D8-978E-0889FB5D3AB9}"/>
                </a:ext>
              </a:extLst>
            </p:cNvPr>
            <p:cNvSpPr txBox="1"/>
            <p:nvPr/>
          </p:nvSpPr>
          <p:spPr>
            <a:xfrm>
              <a:off x="1447190" y="4297682"/>
              <a:ext cx="463268" cy="1938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etworking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verview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162">
              <a:extLst>
                <a:ext uri="{FF2B5EF4-FFF2-40B4-BE49-F238E27FC236}">
                  <a16:creationId xmlns:a16="http://schemas.microsoft.com/office/drawing/2014/main" id="{9B34AD16-2354-449F-8550-C1589010B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810" y="4070507"/>
              <a:ext cx="222026" cy="143905"/>
            </a:xfrm>
            <a:custGeom>
              <a:avLst/>
              <a:gdLst>
                <a:gd name="connsiteX0" fmla="*/ 3730592 w 6186123"/>
                <a:gd name="connsiteY0" fmla="*/ 704234 h 4009506"/>
                <a:gd name="connsiteX1" fmla="*/ 4905742 w 6186123"/>
                <a:gd name="connsiteY1" fmla="*/ 1421442 h 4009506"/>
                <a:gd name="connsiteX2" fmla="*/ 5026805 w 6186123"/>
                <a:gd name="connsiteY2" fmla="*/ 1500420 h 4009506"/>
                <a:gd name="connsiteX3" fmla="*/ 6025568 w 6186123"/>
                <a:gd name="connsiteY3" fmla="*/ 2138323 h 4009506"/>
                <a:gd name="connsiteX4" fmla="*/ 5393018 w 6186123"/>
                <a:gd name="connsiteY4" fmla="*/ 3921415 h 4009506"/>
                <a:gd name="connsiteX5" fmla="*/ 4896663 w 6186123"/>
                <a:gd name="connsiteY5" fmla="*/ 4009506 h 4009506"/>
                <a:gd name="connsiteX6" fmla="*/ 3667881 w 6186123"/>
                <a:gd name="connsiteY6" fmla="*/ 4009506 h 4009506"/>
                <a:gd name="connsiteX7" fmla="*/ 2433046 w 6186123"/>
                <a:gd name="connsiteY7" fmla="*/ 4009506 h 4009506"/>
                <a:gd name="connsiteX8" fmla="*/ 1376778 w 6186123"/>
                <a:gd name="connsiteY8" fmla="*/ 3274399 h 4009506"/>
                <a:gd name="connsiteX9" fmla="*/ 1328353 w 6186123"/>
                <a:gd name="connsiteY9" fmla="*/ 3098216 h 4009506"/>
                <a:gd name="connsiteX10" fmla="*/ 1367698 w 6186123"/>
                <a:gd name="connsiteY10" fmla="*/ 3049614 h 4009506"/>
                <a:gd name="connsiteX11" fmla="*/ 1410070 w 6186123"/>
                <a:gd name="connsiteY11" fmla="*/ 3049614 h 4009506"/>
                <a:gd name="connsiteX12" fmla="*/ 3110995 w 6186123"/>
                <a:gd name="connsiteY12" fmla="*/ 3046576 h 4009506"/>
                <a:gd name="connsiteX13" fmla="*/ 3244163 w 6186123"/>
                <a:gd name="connsiteY13" fmla="*/ 3101253 h 4009506"/>
                <a:gd name="connsiteX14" fmla="*/ 3934218 w 6186123"/>
                <a:gd name="connsiteY14" fmla="*/ 3234909 h 4009506"/>
                <a:gd name="connsiteX15" fmla="*/ 4297405 w 6186123"/>
                <a:gd name="connsiteY15" fmla="*/ 2627383 h 4009506"/>
                <a:gd name="connsiteX16" fmla="*/ 3897899 w 6186123"/>
                <a:gd name="connsiteY16" fmla="*/ 2089721 h 4009506"/>
                <a:gd name="connsiteX17" fmla="*/ 3235083 w 6186123"/>
                <a:gd name="connsiteY17" fmla="*/ 2238565 h 4009506"/>
                <a:gd name="connsiteX18" fmla="*/ 3126127 w 6186123"/>
                <a:gd name="connsiteY18" fmla="*/ 2287168 h 4009506"/>
                <a:gd name="connsiteX19" fmla="*/ 1594690 w 6186123"/>
                <a:gd name="connsiteY19" fmla="*/ 2284130 h 4009506"/>
                <a:gd name="connsiteX20" fmla="*/ 1564424 w 6186123"/>
                <a:gd name="connsiteY20" fmla="*/ 2284130 h 4009506"/>
                <a:gd name="connsiteX21" fmla="*/ 1543238 w 6186123"/>
                <a:gd name="connsiteY21" fmla="*/ 2235528 h 4009506"/>
                <a:gd name="connsiteX22" fmla="*/ 1861027 w 6186123"/>
                <a:gd name="connsiteY22" fmla="*/ 1949990 h 4009506"/>
                <a:gd name="connsiteX23" fmla="*/ 2248426 w 6186123"/>
                <a:gd name="connsiteY23" fmla="*/ 1816334 h 4009506"/>
                <a:gd name="connsiteX24" fmla="*/ 2318037 w 6186123"/>
                <a:gd name="connsiteY24" fmla="*/ 1746469 h 4009506"/>
                <a:gd name="connsiteX25" fmla="*/ 3395491 w 6186123"/>
                <a:gd name="connsiteY25" fmla="*/ 734936 h 4009506"/>
                <a:gd name="connsiteX26" fmla="*/ 3730592 w 6186123"/>
                <a:gd name="connsiteY26" fmla="*/ 704234 h 4009506"/>
                <a:gd name="connsiteX27" fmla="*/ 2300746 w 6186123"/>
                <a:gd name="connsiteY27" fmla="*/ 8 h 4009506"/>
                <a:gd name="connsiteX28" fmla="*/ 3310471 w 6186123"/>
                <a:gd name="connsiteY28" fmla="*/ 548954 h 4009506"/>
                <a:gd name="connsiteX29" fmla="*/ 3286263 w 6186123"/>
                <a:gd name="connsiteY29" fmla="*/ 615813 h 4009506"/>
                <a:gd name="connsiteX30" fmla="*/ 3098646 w 6186123"/>
                <a:gd name="connsiteY30" fmla="*/ 679632 h 4009506"/>
                <a:gd name="connsiteX31" fmla="*/ 2980630 w 6186123"/>
                <a:gd name="connsiteY31" fmla="*/ 652281 h 4009506"/>
                <a:gd name="connsiteX32" fmla="*/ 2281608 w 6186123"/>
                <a:gd name="connsiteY32" fmla="*/ 321028 h 4009506"/>
                <a:gd name="connsiteX33" fmla="*/ 1522065 w 6186123"/>
                <a:gd name="connsiteY33" fmla="*/ 706983 h 4009506"/>
                <a:gd name="connsiteX34" fmla="*/ 1367735 w 6186123"/>
                <a:gd name="connsiteY34" fmla="*/ 1041275 h 4009506"/>
                <a:gd name="connsiteX35" fmla="*/ 1279979 w 6186123"/>
                <a:gd name="connsiteY35" fmla="*/ 1108133 h 4009506"/>
                <a:gd name="connsiteX36" fmla="*/ 889616 w 6186123"/>
                <a:gd name="connsiteY36" fmla="*/ 1120289 h 4009506"/>
                <a:gd name="connsiteX37" fmla="*/ 323741 w 6186123"/>
                <a:gd name="connsiteY37" fmla="*/ 1828380 h 4009506"/>
                <a:gd name="connsiteX38" fmla="*/ 910798 w 6186123"/>
                <a:gd name="connsiteY38" fmla="*/ 2500003 h 4009506"/>
                <a:gd name="connsiteX39" fmla="*/ 1053024 w 6186123"/>
                <a:gd name="connsiteY39" fmla="*/ 2509120 h 4009506"/>
                <a:gd name="connsiteX40" fmla="*/ 2124252 w 6186123"/>
                <a:gd name="connsiteY40" fmla="*/ 2509120 h 4009506"/>
                <a:gd name="connsiteX41" fmla="*/ 3243898 w 6186123"/>
                <a:gd name="connsiteY41" fmla="*/ 2512159 h 4009506"/>
                <a:gd name="connsiteX42" fmla="*/ 3346784 w 6186123"/>
                <a:gd name="connsiteY42" fmla="*/ 2457457 h 4009506"/>
                <a:gd name="connsiteX43" fmla="*/ 3800694 w 6186123"/>
                <a:gd name="connsiteY43" fmla="*/ 2293350 h 4009506"/>
                <a:gd name="connsiteX44" fmla="*/ 4085145 w 6186123"/>
                <a:gd name="connsiteY44" fmla="*/ 2688422 h 4009506"/>
                <a:gd name="connsiteX45" fmla="*/ 3776486 w 6186123"/>
                <a:gd name="connsiteY45" fmla="*/ 3068299 h 4009506"/>
                <a:gd name="connsiteX46" fmla="*/ 3358888 w 6186123"/>
                <a:gd name="connsiteY46" fmla="*/ 2904192 h 4009506"/>
                <a:gd name="connsiteX47" fmla="*/ 3240872 w 6186123"/>
                <a:gd name="connsiteY47" fmla="*/ 2843412 h 4009506"/>
                <a:gd name="connsiteX48" fmla="*/ 1062102 w 6186123"/>
                <a:gd name="connsiteY48" fmla="*/ 2843412 h 4009506"/>
                <a:gd name="connsiteX49" fmla="*/ 196646 w 6186123"/>
                <a:gd name="connsiteY49" fmla="*/ 2417949 h 4009506"/>
                <a:gd name="connsiteX50" fmla="*/ 886590 w 6186123"/>
                <a:gd name="connsiteY50" fmla="*/ 795115 h 4009506"/>
                <a:gd name="connsiteX51" fmla="*/ 1059076 w 6186123"/>
                <a:gd name="connsiteY51" fmla="*/ 785998 h 4009506"/>
                <a:gd name="connsiteX52" fmla="*/ 1134728 w 6186123"/>
                <a:gd name="connsiteY52" fmla="*/ 737373 h 4009506"/>
                <a:gd name="connsiteX53" fmla="*/ 2118200 w 6186123"/>
                <a:gd name="connsiteY53" fmla="*/ 11048 h 4009506"/>
                <a:gd name="connsiteX54" fmla="*/ 2300746 w 6186123"/>
                <a:gd name="connsiteY54" fmla="*/ 8 h 400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186123" h="4009506">
                  <a:moveTo>
                    <a:pt x="3730592" y="704234"/>
                  </a:moveTo>
                  <a:cubicBezTo>
                    <a:pt x="4211053" y="720045"/>
                    <a:pt x="4662293" y="989528"/>
                    <a:pt x="4905742" y="1421442"/>
                  </a:cubicBezTo>
                  <a:cubicBezTo>
                    <a:pt x="4932981" y="1476119"/>
                    <a:pt x="4969300" y="1497383"/>
                    <a:pt x="5026805" y="1500420"/>
                  </a:cubicBezTo>
                  <a:cubicBezTo>
                    <a:pt x="5468682" y="1539910"/>
                    <a:pt x="5801603" y="1755582"/>
                    <a:pt x="6025568" y="2138323"/>
                  </a:cubicBezTo>
                  <a:cubicBezTo>
                    <a:pt x="6400861" y="2782302"/>
                    <a:pt x="6089125" y="3657141"/>
                    <a:pt x="5393018" y="3921415"/>
                  </a:cubicBezTo>
                  <a:cubicBezTo>
                    <a:pt x="5232610" y="3982167"/>
                    <a:pt x="5066150" y="4009506"/>
                    <a:pt x="4896663" y="4009506"/>
                  </a:cubicBezTo>
                  <a:cubicBezTo>
                    <a:pt x="4488078" y="4009506"/>
                    <a:pt x="4076466" y="4009506"/>
                    <a:pt x="3667881" y="4009506"/>
                  </a:cubicBezTo>
                  <a:cubicBezTo>
                    <a:pt x="3256269" y="4009506"/>
                    <a:pt x="2844658" y="4009506"/>
                    <a:pt x="2433046" y="4009506"/>
                  </a:cubicBezTo>
                  <a:cubicBezTo>
                    <a:pt x="1948797" y="4009506"/>
                    <a:pt x="1543238" y="3730044"/>
                    <a:pt x="1376778" y="3274399"/>
                  </a:cubicBezTo>
                  <a:cubicBezTo>
                    <a:pt x="1355592" y="3216684"/>
                    <a:pt x="1343486" y="3158969"/>
                    <a:pt x="1328353" y="3098216"/>
                  </a:cubicBezTo>
                  <a:cubicBezTo>
                    <a:pt x="1319273" y="3064802"/>
                    <a:pt x="1334406" y="3049614"/>
                    <a:pt x="1367698" y="3049614"/>
                  </a:cubicBezTo>
                  <a:cubicBezTo>
                    <a:pt x="1382831" y="3049614"/>
                    <a:pt x="1394937" y="3049614"/>
                    <a:pt x="1410070" y="3049614"/>
                  </a:cubicBezTo>
                  <a:cubicBezTo>
                    <a:pt x="1976036" y="3049614"/>
                    <a:pt x="2545028" y="3049614"/>
                    <a:pt x="3110995" y="3046576"/>
                  </a:cubicBezTo>
                  <a:cubicBezTo>
                    <a:pt x="3165473" y="3046576"/>
                    <a:pt x="3204818" y="3061764"/>
                    <a:pt x="3244163" y="3101253"/>
                  </a:cubicBezTo>
                  <a:cubicBezTo>
                    <a:pt x="3425756" y="3289587"/>
                    <a:pt x="3698146" y="3341227"/>
                    <a:pt x="3934218" y="3234909"/>
                  </a:cubicBezTo>
                  <a:cubicBezTo>
                    <a:pt x="4167263" y="3128592"/>
                    <a:pt x="4318590" y="2885581"/>
                    <a:pt x="4297405" y="2627383"/>
                  </a:cubicBezTo>
                  <a:cubicBezTo>
                    <a:pt x="4276219" y="2369184"/>
                    <a:pt x="4143050" y="2180850"/>
                    <a:pt x="3897899" y="2089721"/>
                  </a:cubicBezTo>
                  <a:cubicBezTo>
                    <a:pt x="3652748" y="1998592"/>
                    <a:pt x="3425756" y="2050232"/>
                    <a:pt x="3235083" y="2238565"/>
                  </a:cubicBezTo>
                  <a:cubicBezTo>
                    <a:pt x="3204818" y="2268942"/>
                    <a:pt x="3171526" y="2287168"/>
                    <a:pt x="3126127" y="2287168"/>
                  </a:cubicBezTo>
                  <a:cubicBezTo>
                    <a:pt x="2617666" y="2284130"/>
                    <a:pt x="2106178" y="2284130"/>
                    <a:pt x="1594690" y="2284130"/>
                  </a:cubicBezTo>
                  <a:cubicBezTo>
                    <a:pt x="1585610" y="2284130"/>
                    <a:pt x="1576531" y="2284130"/>
                    <a:pt x="1564424" y="2284130"/>
                  </a:cubicBezTo>
                  <a:cubicBezTo>
                    <a:pt x="1522053" y="2284130"/>
                    <a:pt x="1515999" y="2268942"/>
                    <a:pt x="1543238" y="2235528"/>
                  </a:cubicBezTo>
                  <a:cubicBezTo>
                    <a:pt x="1631009" y="2120098"/>
                    <a:pt x="1736938" y="2022893"/>
                    <a:pt x="1861027" y="1949990"/>
                  </a:cubicBezTo>
                  <a:cubicBezTo>
                    <a:pt x="1982089" y="1883162"/>
                    <a:pt x="2109204" y="1831522"/>
                    <a:pt x="2248426" y="1816334"/>
                  </a:cubicBezTo>
                  <a:cubicBezTo>
                    <a:pt x="2290798" y="1813297"/>
                    <a:pt x="2305931" y="1785958"/>
                    <a:pt x="2318037" y="1746469"/>
                  </a:cubicBezTo>
                  <a:cubicBezTo>
                    <a:pt x="2484497" y="1202732"/>
                    <a:pt x="2841631" y="859479"/>
                    <a:pt x="3395491" y="734936"/>
                  </a:cubicBezTo>
                  <a:cubicBezTo>
                    <a:pt x="3507284" y="710446"/>
                    <a:pt x="3619716" y="700585"/>
                    <a:pt x="3730592" y="704234"/>
                  </a:cubicBezTo>
                  <a:close/>
                  <a:moveTo>
                    <a:pt x="2300746" y="8"/>
                  </a:moveTo>
                  <a:cubicBezTo>
                    <a:pt x="2715707" y="1504"/>
                    <a:pt x="3053634" y="192630"/>
                    <a:pt x="3310471" y="548954"/>
                  </a:cubicBezTo>
                  <a:cubicBezTo>
                    <a:pt x="3337706" y="588461"/>
                    <a:pt x="3334680" y="603657"/>
                    <a:pt x="3286263" y="615813"/>
                  </a:cubicBezTo>
                  <a:cubicBezTo>
                    <a:pt x="3222715" y="627969"/>
                    <a:pt x="3159168" y="649242"/>
                    <a:pt x="3098646" y="679632"/>
                  </a:cubicBezTo>
                  <a:cubicBezTo>
                    <a:pt x="3050229" y="703944"/>
                    <a:pt x="3016943" y="697866"/>
                    <a:pt x="2980630" y="652281"/>
                  </a:cubicBezTo>
                  <a:cubicBezTo>
                    <a:pt x="2799066" y="436511"/>
                    <a:pt x="2560006" y="321028"/>
                    <a:pt x="2281608" y="321028"/>
                  </a:cubicBezTo>
                  <a:cubicBezTo>
                    <a:pt x="1966897" y="321028"/>
                    <a:pt x="1712707" y="451706"/>
                    <a:pt x="1522065" y="706983"/>
                  </a:cubicBezTo>
                  <a:cubicBezTo>
                    <a:pt x="1446413" y="807271"/>
                    <a:pt x="1394970" y="916675"/>
                    <a:pt x="1367735" y="1041275"/>
                  </a:cubicBezTo>
                  <a:cubicBezTo>
                    <a:pt x="1358657" y="1092938"/>
                    <a:pt x="1331422" y="1108133"/>
                    <a:pt x="1279979" y="1108133"/>
                  </a:cubicBezTo>
                  <a:cubicBezTo>
                    <a:pt x="1149858" y="1108133"/>
                    <a:pt x="1019737" y="1095977"/>
                    <a:pt x="889616" y="1120289"/>
                  </a:cubicBezTo>
                  <a:cubicBezTo>
                    <a:pt x="553722" y="1181070"/>
                    <a:pt x="317689" y="1472815"/>
                    <a:pt x="323741" y="1828380"/>
                  </a:cubicBezTo>
                  <a:cubicBezTo>
                    <a:pt x="326767" y="2165711"/>
                    <a:pt x="574905" y="2448340"/>
                    <a:pt x="910798" y="2500003"/>
                  </a:cubicBezTo>
                  <a:cubicBezTo>
                    <a:pt x="956189" y="2506081"/>
                    <a:pt x="1004607" y="2509120"/>
                    <a:pt x="1053024" y="2509120"/>
                  </a:cubicBezTo>
                  <a:cubicBezTo>
                    <a:pt x="1410100" y="2509120"/>
                    <a:pt x="1767176" y="2509120"/>
                    <a:pt x="2124252" y="2509120"/>
                  </a:cubicBezTo>
                  <a:cubicBezTo>
                    <a:pt x="2499485" y="2509120"/>
                    <a:pt x="2871691" y="2509120"/>
                    <a:pt x="3243898" y="2512159"/>
                  </a:cubicBezTo>
                  <a:cubicBezTo>
                    <a:pt x="3289289" y="2512159"/>
                    <a:pt x="3319550" y="2500003"/>
                    <a:pt x="3346784" y="2457457"/>
                  </a:cubicBezTo>
                  <a:cubicBezTo>
                    <a:pt x="3446644" y="2302467"/>
                    <a:pt x="3631235" y="2238647"/>
                    <a:pt x="3800694" y="2293350"/>
                  </a:cubicBezTo>
                  <a:cubicBezTo>
                    <a:pt x="3973180" y="2348052"/>
                    <a:pt x="4094223" y="2515198"/>
                    <a:pt x="4085145" y="2688422"/>
                  </a:cubicBezTo>
                  <a:cubicBezTo>
                    <a:pt x="4079093" y="2870763"/>
                    <a:pt x="3955024" y="3022714"/>
                    <a:pt x="3776486" y="3068299"/>
                  </a:cubicBezTo>
                  <a:cubicBezTo>
                    <a:pt x="3622156" y="3107806"/>
                    <a:pt x="3449670" y="3043987"/>
                    <a:pt x="3358888" y="2904192"/>
                  </a:cubicBezTo>
                  <a:cubicBezTo>
                    <a:pt x="3328628" y="2855568"/>
                    <a:pt x="3292315" y="2843412"/>
                    <a:pt x="3240872" y="2843412"/>
                  </a:cubicBezTo>
                  <a:cubicBezTo>
                    <a:pt x="2514615" y="2843412"/>
                    <a:pt x="1788359" y="2846451"/>
                    <a:pt x="1062102" y="2843412"/>
                  </a:cubicBezTo>
                  <a:cubicBezTo>
                    <a:pt x="705026" y="2843412"/>
                    <a:pt x="408471" y="2709695"/>
                    <a:pt x="196646" y="2417949"/>
                  </a:cubicBezTo>
                  <a:cubicBezTo>
                    <a:pt x="-260290" y="1797990"/>
                    <a:pt x="124021" y="895402"/>
                    <a:pt x="886590" y="795115"/>
                  </a:cubicBezTo>
                  <a:cubicBezTo>
                    <a:pt x="944085" y="785998"/>
                    <a:pt x="1001581" y="782959"/>
                    <a:pt x="1059076" y="785998"/>
                  </a:cubicBezTo>
                  <a:cubicBezTo>
                    <a:pt x="1098415" y="785998"/>
                    <a:pt x="1116571" y="773842"/>
                    <a:pt x="1134728" y="737373"/>
                  </a:cubicBezTo>
                  <a:cubicBezTo>
                    <a:pt x="1334448" y="324067"/>
                    <a:pt x="1661264" y="68790"/>
                    <a:pt x="2118200" y="11048"/>
                  </a:cubicBezTo>
                  <a:cubicBezTo>
                    <a:pt x="2180613" y="3451"/>
                    <a:pt x="2241465" y="-205"/>
                    <a:pt x="230074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5ABC1CE0-E5CC-4DD5-A492-F340D8F537DE}"/>
                </a:ext>
              </a:extLst>
            </p:cNvPr>
            <p:cNvSpPr/>
            <p:nvPr/>
          </p:nvSpPr>
          <p:spPr bwMode="auto">
            <a:xfrm>
              <a:off x="304975" y="390022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Networking</a:t>
              </a:r>
            </a:p>
          </p:txBody>
        </p: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199549C7-AD7A-4656-BB69-5FFDA3D15B59}"/>
                </a:ext>
              </a:extLst>
            </p:cNvPr>
            <p:cNvCxnSpPr>
              <a:cxnSpLocks/>
            </p:cNvCxnSpPr>
            <p:nvPr/>
          </p:nvCxnSpPr>
          <p:spPr>
            <a:xfrm>
              <a:off x="1923924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8497A594-BE05-465A-9092-1D196FEA27D7}"/>
                </a:ext>
              </a:extLst>
            </p:cNvPr>
            <p:cNvCxnSpPr>
              <a:cxnSpLocks/>
            </p:cNvCxnSpPr>
            <p:nvPr/>
          </p:nvCxnSpPr>
          <p:spPr>
            <a:xfrm>
              <a:off x="2642316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0A496B19-0C9D-4807-B7E6-8EDAF88E7657}"/>
                </a:ext>
              </a:extLst>
            </p:cNvPr>
            <p:cNvCxnSpPr>
              <a:cxnSpLocks/>
            </p:cNvCxnSpPr>
            <p:nvPr/>
          </p:nvCxnSpPr>
          <p:spPr>
            <a:xfrm>
              <a:off x="3223877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7C53C4FD-C59A-465E-BB40-58FCD5899119}"/>
                </a:ext>
              </a:extLst>
            </p:cNvPr>
            <p:cNvCxnSpPr>
              <a:cxnSpLocks/>
            </p:cNvCxnSpPr>
            <p:nvPr/>
          </p:nvCxnSpPr>
          <p:spPr>
            <a:xfrm>
              <a:off x="3726831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B6F5EE95-8B8F-407E-A0D3-678EADB6EFE9}"/>
                </a:ext>
              </a:extLst>
            </p:cNvPr>
            <p:cNvCxnSpPr>
              <a:cxnSpLocks/>
            </p:cNvCxnSpPr>
            <p:nvPr/>
          </p:nvCxnSpPr>
          <p:spPr>
            <a:xfrm>
              <a:off x="4090541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207FFD77-6C16-47FB-A4F1-5F5B6C8EE93C}"/>
                </a:ext>
              </a:extLst>
            </p:cNvPr>
            <p:cNvCxnSpPr>
              <a:cxnSpLocks/>
            </p:cNvCxnSpPr>
            <p:nvPr/>
          </p:nvCxnSpPr>
          <p:spPr>
            <a:xfrm>
              <a:off x="4509779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AE6246B5-44F6-4E05-A8C4-26FBFFA47122}"/>
                </a:ext>
              </a:extLst>
            </p:cNvPr>
            <p:cNvCxnSpPr>
              <a:cxnSpLocks/>
            </p:cNvCxnSpPr>
            <p:nvPr/>
          </p:nvCxnSpPr>
          <p:spPr>
            <a:xfrm>
              <a:off x="4919081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676C25EB-DDEA-49CB-92D9-2A9620DC8902}"/>
                </a:ext>
              </a:extLst>
            </p:cNvPr>
            <p:cNvCxnSpPr>
              <a:cxnSpLocks/>
            </p:cNvCxnSpPr>
            <p:nvPr/>
          </p:nvCxnSpPr>
          <p:spPr>
            <a:xfrm>
              <a:off x="5329371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DEA7F425-FD7B-4BCF-BE03-100BC2257994}"/>
                </a:ext>
              </a:extLst>
            </p:cNvPr>
            <p:cNvCxnSpPr>
              <a:cxnSpLocks/>
            </p:cNvCxnSpPr>
            <p:nvPr/>
          </p:nvCxnSpPr>
          <p:spPr>
            <a:xfrm>
              <a:off x="5849436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BAFACED4-B3A4-4814-AAEC-CCFFDE4941FE}"/>
                </a:ext>
              </a:extLst>
            </p:cNvPr>
            <p:cNvCxnSpPr>
              <a:cxnSpLocks/>
            </p:cNvCxnSpPr>
            <p:nvPr/>
          </p:nvCxnSpPr>
          <p:spPr>
            <a:xfrm>
              <a:off x="6407403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AF13D7B8-F0ED-4FD4-923C-27024A95DA55}"/>
                </a:ext>
              </a:extLst>
            </p:cNvPr>
            <p:cNvCxnSpPr>
              <a:cxnSpLocks/>
            </p:cNvCxnSpPr>
            <p:nvPr/>
          </p:nvCxnSpPr>
          <p:spPr>
            <a:xfrm>
              <a:off x="6832842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92B21B91-0B9E-4EC0-BF70-F68E6AF69576}"/>
                </a:ext>
              </a:extLst>
            </p:cNvPr>
            <p:cNvCxnSpPr>
              <a:cxnSpLocks/>
            </p:cNvCxnSpPr>
            <p:nvPr/>
          </p:nvCxnSpPr>
          <p:spPr>
            <a:xfrm>
              <a:off x="7244988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50" name="Picture 449">
              <a:extLst>
                <a:ext uri="{FF2B5EF4-FFF2-40B4-BE49-F238E27FC236}">
                  <a16:creationId xmlns:a16="http://schemas.microsoft.com/office/drawing/2014/main" id="{527188F9-9F42-4F8A-A5B1-39A9F0319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9"/>
            <a:stretch>
              <a:fillRect/>
            </a:stretch>
          </p:blipFill>
          <p:spPr>
            <a:xfrm>
              <a:off x="2796158" y="4049398"/>
              <a:ext cx="280651" cy="173736"/>
            </a:xfrm>
            <a:prstGeom prst="rect">
              <a:avLst/>
            </a:prstGeom>
          </p:spPr>
        </p:pic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21AF58B0-92D3-45B8-9DCF-751A1C7D14FA}"/>
                </a:ext>
              </a:extLst>
            </p:cNvPr>
            <p:cNvCxnSpPr>
              <a:cxnSpLocks/>
            </p:cNvCxnSpPr>
            <p:nvPr/>
          </p:nvCxnSpPr>
          <p:spPr>
            <a:xfrm>
              <a:off x="7869843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53" name="Picture 452">
              <a:extLst>
                <a:ext uri="{FF2B5EF4-FFF2-40B4-BE49-F238E27FC236}">
                  <a16:creationId xmlns:a16="http://schemas.microsoft.com/office/drawing/2014/main" id="{B51996A3-D615-40D7-9CD9-06BECC3AB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0"/>
            <a:stretch>
              <a:fillRect/>
            </a:stretch>
          </p:blipFill>
          <p:spPr>
            <a:xfrm>
              <a:off x="7998842" y="3955474"/>
              <a:ext cx="246888" cy="246888"/>
            </a:xfrm>
            <a:prstGeom prst="rect">
              <a:avLst/>
            </a:prstGeom>
          </p:spPr>
        </p:pic>
        <p:sp>
          <p:nvSpPr>
            <p:cNvPr id="454" name="TextBox 453">
              <a:extLst>
                <a:ext uri="{FF2B5EF4-FFF2-40B4-BE49-F238E27FC236}">
                  <a16:creationId xmlns:a16="http://schemas.microsoft.com/office/drawing/2014/main" id="{CC124FCE-5281-4A61-8C5A-3F7B8216724C}"/>
                </a:ext>
              </a:extLst>
            </p:cNvPr>
            <p:cNvSpPr txBox="1"/>
            <p:nvPr/>
          </p:nvSpPr>
          <p:spPr>
            <a:xfrm>
              <a:off x="7931429" y="4255735"/>
              <a:ext cx="381715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</a:p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s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7154FC82-A892-4A2B-9A99-953AB4D7997D}"/>
                </a:ext>
              </a:extLst>
            </p:cNvPr>
            <p:cNvCxnSpPr>
              <a:cxnSpLocks/>
            </p:cNvCxnSpPr>
            <p:nvPr/>
          </p:nvCxnSpPr>
          <p:spPr>
            <a:xfrm>
              <a:off x="8367008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57" name="Picture 456">
              <a:extLst>
                <a:ext uri="{FF2B5EF4-FFF2-40B4-BE49-F238E27FC236}">
                  <a16:creationId xmlns:a16="http://schemas.microsoft.com/office/drawing/2014/main" id="{5897712C-8503-45AD-B42D-D681AB8A7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2"/>
            <a:stretch>
              <a:fillRect/>
            </a:stretch>
          </p:blipFill>
          <p:spPr>
            <a:xfrm>
              <a:off x="8522632" y="3957056"/>
              <a:ext cx="246888" cy="246888"/>
            </a:xfrm>
            <a:prstGeom prst="rect">
              <a:avLst/>
            </a:prstGeom>
          </p:spPr>
        </p:pic>
        <p:sp>
          <p:nvSpPr>
            <p:cNvPr id="458" name="TextBox 457">
              <a:extLst>
                <a:ext uri="{FF2B5EF4-FFF2-40B4-BE49-F238E27FC236}">
                  <a16:creationId xmlns:a16="http://schemas.microsoft.com/office/drawing/2014/main" id="{9654544C-B3C9-419F-9991-6C6EDF9CD193}"/>
                </a:ext>
              </a:extLst>
            </p:cNvPr>
            <p:cNvSpPr txBox="1"/>
            <p:nvPr/>
          </p:nvSpPr>
          <p:spPr>
            <a:xfrm>
              <a:off x="8397536" y="4255735"/>
              <a:ext cx="497080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 App Firewal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459" name="Straight Connector 458">
              <a:extLst>
                <a:ext uri="{FF2B5EF4-FFF2-40B4-BE49-F238E27FC236}">
                  <a16:creationId xmlns:a16="http://schemas.microsoft.com/office/drawing/2014/main" id="{78A144AB-D09E-43FD-AFCC-E50D73019EC0}"/>
                </a:ext>
              </a:extLst>
            </p:cNvPr>
            <p:cNvCxnSpPr>
              <a:cxnSpLocks/>
            </p:cNvCxnSpPr>
            <p:nvPr/>
          </p:nvCxnSpPr>
          <p:spPr>
            <a:xfrm>
              <a:off x="8912967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61" name="Picture 460">
              <a:extLst>
                <a:ext uri="{FF2B5EF4-FFF2-40B4-BE49-F238E27FC236}">
                  <a16:creationId xmlns:a16="http://schemas.microsoft.com/office/drawing/2014/main" id="{1BB2BFCD-62C0-4BB3-9446-62D0E5F70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4"/>
            <a:stretch>
              <a:fillRect/>
            </a:stretch>
          </p:blipFill>
          <p:spPr>
            <a:xfrm>
              <a:off x="9127989" y="3983390"/>
              <a:ext cx="246888" cy="246888"/>
            </a:xfrm>
            <a:prstGeom prst="rect">
              <a:avLst/>
            </a:prstGeom>
          </p:spPr>
        </p:pic>
        <p:sp>
          <p:nvSpPr>
            <p:cNvPr id="475" name="TextBox 474">
              <a:extLst>
                <a:ext uri="{FF2B5EF4-FFF2-40B4-BE49-F238E27FC236}">
                  <a16:creationId xmlns:a16="http://schemas.microsoft.com/office/drawing/2014/main" id="{966E2653-FE09-4289-BB5E-60DAE8129258}"/>
                </a:ext>
              </a:extLst>
            </p:cNvPr>
            <p:cNvSpPr txBox="1"/>
            <p:nvPr/>
          </p:nvSpPr>
          <p:spPr>
            <a:xfrm>
              <a:off x="8948175" y="4255735"/>
              <a:ext cx="606517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Private Link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476" name="Straight Connector 475">
              <a:extLst>
                <a:ext uri="{FF2B5EF4-FFF2-40B4-BE49-F238E27FC236}">
                  <a16:creationId xmlns:a16="http://schemas.microsoft.com/office/drawing/2014/main" id="{1F5BFE14-BEFD-48C5-AB2B-103ABA9FC446}"/>
                </a:ext>
              </a:extLst>
            </p:cNvPr>
            <p:cNvCxnSpPr>
              <a:cxnSpLocks/>
            </p:cNvCxnSpPr>
            <p:nvPr/>
          </p:nvCxnSpPr>
          <p:spPr>
            <a:xfrm>
              <a:off x="9580034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8" name="Picture 477">
              <a:extLst>
                <a:ext uri="{FF2B5EF4-FFF2-40B4-BE49-F238E27FC236}">
                  <a16:creationId xmlns:a16="http://schemas.microsoft.com/office/drawing/2014/main" id="{920C3231-ABCA-43B7-BF14-58895E9AA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6"/>
            <a:stretch>
              <a:fillRect/>
            </a:stretch>
          </p:blipFill>
          <p:spPr>
            <a:xfrm>
              <a:off x="9685236" y="4002729"/>
              <a:ext cx="246888" cy="246888"/>
            </a:xfrm>
            <a:prstGeom prst="rect">
              <a:avLst/>
            </a:prstGeom>
          </p:spPr>
        </p:pic>
        <p:sp>
          <p:nvSpPr>
            <p:cNvPr id="479" name="TextBox 478">
              <a:extLst>
                <a:ext uri="{FF2B5EF4-FFF2-40B4-BE49-F238E27FC236}">
                  <a16:creationId xmlns:a16="http://schemas.microsoft.com/office/drawing/2014/main" id="{9688EC8C-D27E-4F91-8FAC-E6D0D748AE3C}"/>
                </a:ext>
              </a:extLst>
            </p:cNvPr>
            <p:cNvSpPr txBox="1"/>
            <p:nvPr/>
          </p:nvSpPr>
          <p:spPr>
            <a:xfrm>
              <a:off x="9586298" y="4255735"/>
              <a:ext cx="444764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eering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DF3990AC-1583-4234-ADEF-0658D4CC0053}"/>
                </a:ext>
              </a:extLst>
            </p:cNvPr>
            <p:cNvCxnSpPr>
              <a:cxnSpLocks/>
            </p:cNvCxnSpPr>
            <p:nvPr/>
          </p:nvCxnSpPr>
          <p:spPr>
            <a:xfrm>
              <a:off x="10044503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2" name="Picture 481">
              <a:extLst>
                <a:ext uri="{FF2B5EF4-FFF2-40B4-BE49-F238E27FC236}">
                  <a16:creationId xmlns:a16="http://schemas.microsoft.com/office/drawing/2014/main" id="{17E28A80-9719-40BD-8FA7-C839795DB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8"/>
            <a:stretch>
              <a:fillRect/>
            </a:stretch>
          </p:blipFill>
          <p:spPr>
            <a:xfrm>
              <a:off x="10249559" y="4002729"/>
              <a:ext cx="246888" cy="246888"/>
            </a:xfrm>
            <a:prstGeom prst="rect">
              <a:avLst/>
            </a:prstGeom>
          </p:spPr>
        </p:pic>
        <p:sp>
          <p:nvSpPr>
            <p:cNvPr id="483" name="TextBox 482">
              <a:extLst>
                <a:ext uri="{FF2B5EF4-FFF2-40B4-BE49-F238E27FC236}">
                  <a16:creationId xmlns:a16="http://schemas.microsoft.com/office/drawing/2014/main" id="{F7922CD6-FF54-4973-815A-402A32181344}"/>
                </a:ext>
              </a:extLst>
            </p:cNvPr>
            <p:cNvSpPr txBox="1"/>
            <p:nvPr/>
          </p:nvSpPr>
          <p:spPr>
            <a:xfrm>
              <a:off x="10054192" y="4261401"/>
              <a:ext cx="637622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Firewall Manag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8E4E50A1-8837-4B38-8721-271EE600D9F8}"/>
                </a:ext>
              </a:extLst>
            </p:cNvPr>
            <p:cNvCxnSpPr>
              <a:cxnSpLocks/>
            </p:cNvCxnSpPr>
            <p:nvPr/>
          </p:nvCxnSpPr>
          <p:spPr>
            <a:xfrm>
              <a:off x="10698188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6" name="Picture 485">
              <a:extLst>
                <a:ext uri="{FF2B5EF4-FFF2-40B4-BE49-F238E27FC236}">
                  <a16:creationId xmlns:a16="http://schemas.microsoft.com/office/drawing/2014/main" id="{9D71F552-491A-44A3-9B1D-DB3BA8E4F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0"/>
            <a:stretch>
              <a:fillRect/>
            </a:stretch>
          </p:blipFill>
          <p:spPr>
            <a:xfrm>
              <a:off x="10925821" y="4002729"/>
              <a:ext cx="246888" cy="246888"/>
            </a:xfrm>
            <a:prstGeom prst="rect">
              <a:avLst/>
            </a:prstGeom>
          </p:spPr>
        </p:pic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64EBEB6F-A30E-41FF-A8DE-846CA922392A}"/>
                </a:ext>
              </a:extLst>
            </p:cNvPr>
            <p:cNvSpPr txBox="1"/>
            <p:nvPr/>
          </p:nvSpPr>
          <p:spPr>
            <a:xfrm>
              <a:off x="10717169" y="4261401"/>
              <a:ext cx="664192" cy="286232"/>
            </a:xfrm>
            <a:prstGeom prst="rect">
              <a:avLst/>
            </a:prstGeom>
            <a:noFill/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Internet Analyz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493757FD-039B-4698-A3A4-D3FB5F0957F5}"/>
                </a:ext>
              </a:extLst>
            </p:cNvPr>
            <p:cNvCxnSpPr>
              <a:cxnSpLocks/>
            </p:cNvCxnSpPr>
            <p:nvPr/>
          </p:nvCxnSpPr>
          <p:spPr>
            <a:xfrm>
              <a:off x="11381361" y="390022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5" name="Picture 504">
              <a:extLst>
                <a:ext uri="{FF2B5EF4-FFF2-40B4-BE49-F238E27FC236}">
                  <a16:creationId xmlns:a16="http://schemas.microsoft.com/office/drawing/2014/main" id="{EDDD39A6-C196-4787-9694-CF264521C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2"/>
            <a:stretch>
              <a:fillRect/>
            </a:stretch>
          </p:blipFill>
          <p:spPr>
            <a:xfrm>
              <a:off x="11570151" y="3997483"/>
              <a:ext cx="246888" cy="246888"/>
            </a:xfrm>
            <a:prstGeom prst="rect">
              <a:avLst/>
            </a:prstGeom>
          </p:spPr>
        </p:pic>
        <p:sp>
          <p:nvSpPr>
            <p:cNvPr id="506" name="TextBox 505">
              <a:extLst>
                <a:ext uri="{FF2B5EF4-FFF2-40B4-BE49-F238E27FC236}">
                  <a16:creationId xmlns:a16="http://schemas.microsoft.com/office/drawing/2014/main" id="{AC7D61C5-E035-4B32-A703-AAFDF32C1892}"/>
                </a:ext>
              </a:extLst>
            </p:cNvPr>
            <p:cNvSpPr txBox="1"/>
            <p:nvPr/>
          </p:nvSpPr>
          <p:spPr>
            <a:xfrm>
              <a:off x="11531300" y="4313978"/>
              <a:ext cx="32459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52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 panose="020B0502040204020203" pitchFamily="34" charset="0"/>
                </a:defRPr>
              </a:lvl1pPr>
            </a:lstStyle>
            <a:p>
              <a:pPr defTabSz="244977">
                <a:defRPr/>
              </a:pPr>
              <a:r>
                <a:rPr lang="en-US" sz="700" dirty="0">
                  <a:latin typeface="Segoe UI"/>
                  <a:hlinkClick r:id="rId1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rtual</a:t>
              </a:r>
            </a:p>
            <a:p>
              <a:pPr defTabSz="244977">
                <a:defRPr/>
              </a:pPr>
              <a:r>
                <a:rPr lang="en-US" sz="700" dirty="0">
                  <a:latin typeface="Segoe UI"/>
                  <a:hlinkClick r:id="rId1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N</a:t>
              </a:r>
              <a:endParaRPr lang="en-US" sz="700" dirty="0"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6874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CB6933C3-231E-4BCC-8BF9-C453E86104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CB6933C3-231E-4BCC-8BF9-C453E8610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8" name="Rectangle: Rounded Corners 402">
            <a:extLst>
              <a:ext uri="{FF2B5EF4-FFF2-40B4-BE49-F238E27FC236}">
                <a16:creationId xmlns:a16="http://schemas.microsoft.com/office/drawing/2014/main" id="{57B9ADA5-3DA9-4284-947F-6F11F592A72B}"/>
              </a:ext>
            </a:extLst>
          </p:cNvPr>
          <p:cNvSpPr/>
          <p:nvPr/>
        </p:nvSpPr>
        <p:spPr bwMode="auto">
          <a:xfrm rot="5400000" flipH="1" flipV="1">
            <a:off x="8262454" y="-3363549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9" name="Rectangle: Rounded Corners 402">
            <a:extLst>
              <a:ext uri="{FF2B5EF4-FFF2-40B4-BE49-F238E27FC236}">
                <a16:creationId xmlns:a16="http://schemas.microsoft.com/office/drawing/2014/main" id="{8B079F1A-A9FF-4E34-9013-958DCB91A703}"/>
              </a:ext>
            </a:extLst>
          </p:cNvPr>
          <p:cNvSpPr/>
          <p:nvPr/>
        </p:nvSpPr>
        <p:spPr bwMode="auto">
          <a:xfrm>
            <a:off x="126586" y="627857"/>
            <a:ext cx="11452666" cy="5966507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414 w 11452666"/>
              <a:gd name="connsiteY3" fmla="*/ 705796 h 7046159"/>
              <a:gd name="connsiteX4" fmla="*/ 0 w 11452666"/>
              <a:gd name="connsiteY4" fmla="*/ 0 h 7046159"/>
              <a:gd name="connsiteX0" fmla="*/ 11452666 w 11452666"/>
              <a:gd name="connsiteY0" fmla="*/ 6340363 h 6340363"/>
              <a:gd name="connsiteX1" fmla="*/ 319061 w 11452666"/>
              <a:gd name="connsiteY1" fmla="*/ 6340363 h 6340363"/>
              <a:gd name="connsiteX2" fmla="*/ 0 w 11452666"/>
              <a:gd name="connsiteY2" fmla="*/ 6021302 h 6340363"/>
              <a:gd name="connsiteX3" fmla="*/ 414 w 11452666"/>
              <a:gd name="connsiteY3" fmla="*/ 0 h 6340363"/>
              <a:gd name="connsiteX0" fmla="*/ 11452666 w 11452666"/>
              <a:gd name="connsiteY0" fmla="*/ 5999844 h 5999844"/>
              <a:gd name="connsiteX1" fmla="*/ 319061 w 11452666"/>
              <a:gd name="connsiteY1" fmla="*/ 5999844 h 5999844"/>
              <a:gd name="connsiteX2" fmla="*/ 0 w 11452666"/>
              <a:gd name="connsiteY2" fmla="*/ 5680783 h 5999844"/>
              <a:gd name="connsiteX3" fmla="*/ 2795 w 11452666"/>
              <a:gd name="connsiteY3" fmla="*/ 0 h 5999844"/>
              <a:gd name="connsiteX0" fmla="*/ 11452666 w 11452666"/>
              <a:gd name="connsiteY0" fmla="*/ 5966507 h 5966507"/>
              <a:gd name="connsiteX1" fmla="*/ 319061 w 11452666"/>
              <a:gd name="connsiteY1" fmla="*/ 5966507 h 5966507"/>
              <a:gd name="connsiteX2" fmla="*/ 0 w 11452666"/>
              <a:gd name="connsiteY2" fmla="*/ 5647446 h 5966507"/>
              <a:gd name="connsiteX3" fmla="*/ 414 w 11452666"/>
              <a:gd name="connsiteY3" fmla="*/ 0 h 5966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2666" h="5966507">
                <a:moveTo>
                  <a:pt x="11452666" y="5966507"/>
                </a:moveTo>
                <a:lnTo>
                  <a:pt x="319061" y="5966507"/>
                </a:lnTo>
                <a:cubicBezTo>
                  <a:pt x="142848" y="5966507"/>
                  <a:pt x="0" y="5823659"/>
                  <a:pt x="0" y="5647446"/>
                </a:cubicBezTo>
                <a:cubicBezTo>
                  <a:pt x="932" y="3753852"/>
                  <a:pt x="-518" y="1893594"/>
                  <a:pt x="414" y="0"/>
                </a:cubicBez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0" name="Rectangle: Rounded Corners 402">
            <a:extLst>
              <a:ext uri="{FF2B5EF4-FFF2-40B4-BE49-F238E27FC236}">
                <a16:creationId xmlns:a16="http://schemas.microsoft.com/office/drawing/2014/main" id="{4723A85E-C0E4-4E1A-B44D-854FE335E3E7}"/>
              </a:ext>
            </a:extLst>
          </p:cNvPr>
          <p:cNvSpPr/>
          <p:nvPr/>
        </p:nvSpPr>
        <p:spPr bwMode="auto">
          <a:xfrm rot="5400000">
            <a:off x="3490135" y="-3044488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59B1367-FFB8-43F6-853F-66E21B95B795}"/>
              </a:ext>
            </a:extLst>
          </p:cNvPr>
          <p:cNvGrpSpPr/>
          <p:nvPr/>
        </p:nvGrpSpPr>
        <p:grpSpPr>
          <a:xfrm>
            <a:off x="304975" y="595362"/>
            <a:ext cx="11887025" cy="655389"/>
            <a:chOff x="304975" y="595362"/>
            <a:chExt cx="11887025" cy="655389"/>
          </a:xfrm>
        </p:grpSpPr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8C84D401-0B2B-4E90-9D14-CD3A29491BE1}"/>
                </a:ext>
              </a:extLst>
            </p:cNvPr>
            <p:cNvSpPr/>
            <p:nvPr/>
          </p:nvSpPr>
          <p:spPr bwMode="auto">
            <a:xfrm>
              <a:off x="1402080" y="59536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DCBC85E6-6A5C-4F30-9124-4B16AE6D675F}"/>
                </a:ext>
              </a:extLst>
            </p:cNvPr>
            <p:cNvSpPr txBox="1"/>
            <p:nvPr/>
          </p:nvSpPr>
          <p:spPr>
            <a:xfrm>
              <a:off x="1632659" y="938633"/>
              <a:ext cx="468623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curity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forma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10" name="Graphic 209">
              <a:extLst>
                <a:ext uri="{FF2B5EF4-FFF2-40B4-BE49-F238E27FC236}">
                  <a16:creationId xmlns:a16="http://schemas.microsoft.com/office/drawing/2014/main" id="{8BA32353-88B7-4CEA-BAE6-3B14C6768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46558" y="649784"/>
              <a:ext cx="240826" cy="240826"/>
            </a:xfrm>
            <a:prstGeom prst="rect">
              <a:avLst/>
            </a:prstGeom>
          </p:spPr>
        </p:pic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8D3B342F-5EA5-4A9C-A7A0-06C0B3339E54}"/>
                </a:ext>
              </a:extLst>
            </p:cNvPr>
            <p:cNvSpPr txBox="1"/>
            <p:nvPr/>
          </p:nvSpPr>
          <p:spPr>
            <a:xfrm>
              <a:off x="8661955" y="938633"/>
              <a:ext cx="455958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licatio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15" name="Graphic 214">
              <a:extLst>
                <a:ext uri="{FF2B5EF4-FFF2-40B4-BE49-F238E27FC236}">
                  <a16:creationId xmlns:a16="http://schemas.microsoft.com/office/drawing/2014/main" id="{67B4C56B-CEC3-4F0E-8900-C5F16DD8E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769521" y="649784"/>
              <a:ext cx="240826" cy="240826"/>
            </a:xfrm>
            <a:prstGeom prst="rect">
              <a:avLst/>
            </a:prstGeom>
          </p:spPr>
        </p:pic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529657B8-5734-4BAC-AD6E-CCD0A8BDF6EA}"/>
                </a:ext>
              </a:extLst>
            </p:cNvPr>
            <p:cNvSpPr txBox="1"/>
            <p:nvPr/>
          </p:nvSpPr>
          <p:spPr>
            <a:xfrm>
              <a:off x="4391147" y="938633"/>
              <a:ext cx="493502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Do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16" name="Graphic 215">
              <a:extLst>
                <a:ext uri="{FF2B5EF4-FFF2-40B4-BE49-F238E27FC236}">
                  <a16:creationId xmlns:a16="http://schemas.microsoft.com/office/drawing/2014/main" id="{B70CC7F6-94A9-46A9-BB75-33A469FA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532701" y="649237"/>
              <a:ext cx="177409" cy="241921"/>
            </a:xfrm>
            <a:prstGeom prst="rect">
              <a:avLst/>
            </a:prstGeom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919D8EA3-AC14-4514-A993-1C6BFD5A42D1}"/>
                </a:ext>
              </a:extLst>
            </p:cNvPr>
            <p:cNvSpPr txBox="1"/>
            <p:nvPr/>
          </p:nvSpPr>
          <p:spPr>
            <a:xfrm>
              <a:off x="9942646" y="938633"/>
              <a:ext cx="588242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ole-based 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cess Contro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17" name="Graphic 216">
              <a:extLst>
                <a:ext uri="{FF2B5EF4-FFF2-40B4-BE49-F238E27FC236}">
                  <a16:creationId xmlns:a16="http://schemas.microsoft.com/office/drawing/2014/main" id="{286E55AF-049E-401A-A8C4-3509B6280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0116354" y="649784"/>
              <a:ext cx="240826" cy="240826"/>
            </a:xfrm>
            <a:prstGeom prst="rect">
              <a:avLst/>
            </a:prstGeom>
          </p:spPr>
        </p:pic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0B27C226-44F1-4BD8-83AA-280A9394F0A9}"/>
                </a:ext>
              </a:extLst>
            </p:cNvPr>
            <p:cNvSpPr txBox="1"/>
            <p:nvPr/>
          </p:nvSpPr>
          <p:spPr>
            <a:xfrm>
              <a:off x="7025221" y="938633"/>
              <a:ext cx="495362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ct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recto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19" name="Graphic 218">
              <a:extLst>
                <a:ext uri="{FF2B5EF4-FFF2-40B4-BE49-F238E27FC236}">
                  <a16:creationId xmlns:a16="http://schemas.microsoft.com/office/drawing/2014/main" id="{69D2A73F-AF3A-4FDC-8A00-3AC63C9D6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152489" y="649784"/>
              <a:ext cx="240826" cy="240826"/>
            </a:xfrm>
            <a:prstGeom prst="rect">
              <a:avLst/>
            </a:prstGeom>
          </p:spPr>
        </p:pic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762E0F66-190B-4FD6-9FA6-FAEEBBA2B969}"/>
                </a:ext>
              </a:extLst>
            </p:cNvPr>
            <p:cNvSpPr txBox="1"/>
            <p:nvPr/>
          </p:nvSpPr>
          <p:spPr>
            <a:xfrm>
              <a:off x="5126735" y="938633"/>
              <a:ext cx="693787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dvanced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hreat 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0" name="Graphic 219">
              <a:extLst>
                <a:ext uri="{FF2B5EF4-FFF2-40B4-BE49-F238E27FC236}">
                  <a16:creationId xmlns:a16="http://schemas.microsoft.com/office/drawing/2014/main" id="{CA4BD6A5-C35E-4B0A-AB3E-D3CEB42503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53216" y="649784"/>
              <a:ext cx="240826" cy="240826"/>
            </a:xfrm>
            <a:prstGeom prst="rect">
              <a:avLst/>
            </a:prstGeom>
          </p:spPr>
        </p:pic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A5920A9D-A0FB-4C7A-92ED-8BF8BB317C2A}"/>
                </a:ext>
              </a:extLst>
            </p:cNvPr>
            <p:cNvSpPr txBox="1"/>
            <p:nvPr/>
          </p:nvSpPr>
          <p:spPr>
            <a:xfrm>
              <a:off x="2343368" y="938633"/>
              <a:ext cx="315230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curity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ent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1" name="Graphic 220">
              <a:extLst>
                <a:ext uri="{FF2B5EF4-FFF2-40B4-BE49-F238E27FC236}">
                  <a16:creationId xmlns:a16="http://schemas.microsoft.com/office/drawing/2014/main" id="{A9476EC2-B5B2-4AB5-BB36-E28418329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80570" y="649784"/>
              <a:ext cx="240825" cy="240826"/>
            </a:xfrm>
            <a:prstGeom prst="rect">
              <a:avLst/>
            </a:prstGeom>
          </p:spPr>
        </p:pic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D770927E-93B5-4D7C-9FD5-B0433DF65B97}"/>
                </a:ext>
              </a:extLst>
            </p:cNvPr>
            <p:cNvSpPr txBox="1"/>
            <p:nvPr/>
          </p:nvSpPr>
          <p:spPr>
            <a:xfrm>
              <a:off x="7762669" y="938633"/>
              <a:ext cx="657200" cy="2553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ct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rectory fo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omain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2" name="Graphic 221">
              <a:extLst>
                <a:ext uri="{FF2B5EF4-FFF2-40B4-BE49-F238E27FC236}">
                  <a16:creationId xmlns:a16="http://schemas.microsoft.com/office/drawing/2014/main" id="{A29CB2DB-D311-4D59-B4EA-6EE168761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970856" y="649784"/>
              <a:ext cx="240826" cy="240826"/>
            </a:xfrm>
            <a:prstGeom prst="rect">
              <a:avLst/>
            </a:prstGeom>
          </p:spPr>
        </p:pic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CB5E70E3-C2B5-4212-9501-E29045B1C44D}"/>
                </a:ext>
              </a:extLst>
            </p:cNvPr>
            <p:cNvSpPr txBox="1"/>
            <p:nvPr/>
          </p:nvSpPr>
          <p:spPr>
            <a:xfrm>
              <a:off x="11333102" y="938633"/>
              <a:ext cx="567134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ecurity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enter for Io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23" name="Graphic 222">
              <a:extLst>
                <a:ext uri="{FF2B5EF4-FFF2-40B4-BE49-F238E27FC236}">
                  <a16:creationId xmlns:a16="http://schemas.microsoft.com/office/drawing/2014/main" id="{6E489816-4759-4DCE-A7F6-8763A7B57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11512675" y="641247"/>
              <a:ext cx="193425" cy="257900"/>
            </a:xfrm>
            <a:prstGeom prst="rect">
              <a:avLst/>
            </a:prstGeom>
          </p:spPr>
        </p:pic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419DFFE2-FD83-45E9-A4D2-D3A765A28274}"/>
                </a:ext>
              </a:extLst>
            </p:cNvPr>
            <p:cNvSpPr txBox="1"/>
            <p:nvPr/>
          </p:nvSpPr>
          <p:spPr>
            <a:xfrm>
              <a:off x="9359999" y="938633"/>
              <a:ext cx="340561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P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atew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2" name="Graphic 251">
              <a:extLst>
                <a:ext uri="{FF2B5EF4-FFF2-40B4-BE49-F238E27FC236}">
                  <a16:creationId xmlns:a16="http://schemas.microsoft.com/office/drawing/2014/main" id="{230B23DE-7302-4F57-A22F-0EA9C14C8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9409866" y="649784"/>
              <a:ext cx="240825" cy="240826"/>
            </a:xfrm>
            <a:prstGeom prst="rect">
              <a:avLst/>
            </a:prstGeom>
          </p:spPr>
        </p:pic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BE2444CF-878B-4F3F-A643-B92677CC1683}"/>
                </a:ext>
              </a:extLst>
            </p:cNvPr>
            <p:cNvSpPr txBox="1"/>
            <p:nvPr/>
          </p:nvSpPr>
          <p:spPr>
            <a:xfrm>
              <a:off x="6062608" y="938633"/>
              <a:ext cx="720527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Informatio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6" name="Picture 335">
              <a:extLst>
                <a:ext uri="{FF2B5EF4-FFF2-40B4-BE49-F238E27FC236}">
                  <a16:creationId xmlns:a16="http://schemas.microsoft.com/office/drawing/2014/main" id="{6F240DC3-AC80-42C1-A577-6C5888F68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6300429" y="647755"/>
              <a:ext cx="244884" cy="244884"/>
            </a:xfrm>
            <a:prstGeom prst="rect">
              <a:avLst/>
            </a:prstGeom>
            <a:noFill/>
          </p:spPr>
        </p:pic>
        <p:pic>
          <p:nvPicPr>
            <p:cNvPr id="392" name="Graphic 391">
              <a:extLst>
                <a:ext uri="{FF2B5EF4-FFF2-40B4-BE49-F238E27FC236}">
                  <a16:creationId xmlns:a16="http://schemas.microsoft.com/office/drawing/2014/main" id="{78AED486-A0B5-4C52-9973-9DE27E213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10841684" y="649784"/>
              <a:ext cx="210724" cy="240827"/>
            </a:xfrm>
            <a:prstGeom prst="rect">
              <a:avLst/>
            </a:prstGeom>
          </p:spPr>
        </p:pic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115B37F9-C0B1-4C0C-A7B1-C98D7344571C}"/>
                </a:ext>
              </a:extLst>
            </p:cNvPr>
            <p:cNvSpPr txBox="1"/>
            <p:nvPr/>
          </p:nvSpPr>
          <p:spPr>
            <a:xfrm>
              <a:off x="10772974" y="938633"/>
              <a:ext cx="318045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ntine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D3920907-DE5F-43EB-A6BB-EF982A51F183}"/>
                </a:ext>
              </a:extLst>
            </p:cNvPr>
            <p:cNvSpPr txBox="1"/>
            <p:nvPr/>
          </p:nvSpPr>
          <p:spPr>
            <a:xfrm>
              <a:off x="2900684" y="938633"/>
              <a:ext cx="384275" cy="85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ey Vaul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8" name="Graphic 6" descr="Key Vault">
              <a:extLst>
                <a:ext uri="{FF2B5EF4-FFF2-40B4-BE49-F238E27FC236}">
                  <a16:creationId xmlns:a16="http://schemas.microsoft.com/office/drawing/2014/main" id="{47BF135B-C202-4D0E-97B1-61FFC8F94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2972409" y="649784"/>
              <a:ext cx="240826" cy="240826"/>
            </a:xfrm>
            <a:prstGeom prst="rect">
              <a:avLst/>
            </a:prstGeom>
          </p:spPr>
        </p:pic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2BDBC550-B35C-4985-928A-EB43918F9D42}"/>
                </a:ext>
              </a:extLst>
            </p:cNvPr>
            <p:cNvSpPr txBox="1"/>
            <p:nvPr/>
          </p:nvSpPr>
          <p:spPr>
            <a:xfrm>
              <a:off x="3527045" y="938633"/>
              <a:ext cx="622016" cy="170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dicated HSM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9" name="Picture 338">
              <a:extLst>
                <a:ext uri="{FF2B5EF4-FFF2-40B4-BE49-F238E27FC236}">
                  <a16:creationId xmlns:a16="http://schemas.microsoft.com/office/drawing/2014/main" id="{154BB784-A2E6-4CF5-BDBB-02EC0E1B6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3715611" y="647756"/>
              <a:ext cx="244884" cy="244883"/>
            </a:xfrm>
            <a:prstGeom prst="rect">
              <a:avLst/>
            </a:prstGeom>
            <a:noFill/>
          </p:spPr>
        </p:pic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71E1893E-9817-46EB-9A0E-7B53D7880432}"/>
                </a:ext>
              </a:extLst>
            </p:cNvPr>
            <p:cNvSpPr/>
            <p:nvPr/>
          </p:nvSpPr>
          <p:spPr bwMode="auto">
            <a:xfrm>
              <a:off x="304975" y="59536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Security</a:t>
              </a:r>
            </a:p>
          </p:txBody>
        </p: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1DB22761-8ACF-42D3-8C13-04F97B0C9E64}"/>
                </a:ext>
              </a:extLst>
            </p:cNvPr>
            <p:cNvCxnSpPr>
              <a:cxnSpLocks/>
            </p:cNvCxnSpPr>
            <p:nvPr/>
          </p:nvCxnSpPr>
          <p:spPr>
            <a:xfrm>
              <a:off x="2222325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B4A454B5-BB13-47D1-946A-83D5C596C179}"/>
                </a:ext>
              </a:extLst>
            </p:cNvPr>
            <p:cNvCxnSpPr>
              <a:cxnSpLocks/>
            </p:cNvCxnSpPr>
            <p:nvPr/>
          </p:nvCxnSpPr>
          <p:spPr>
            <a:xfrm>
              <a:off x="2779641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>
              <a:extLst>
                <a:ext uri="{FF2B5EF4-FFF2-40B4-BE49-F238E27FC236}">
                  <a16:creationId xmlns:a16="http://schemas.microsoft.com/office/drawing/2014/main" id="{EC28F810-21EC-430C-A27A-C10DCB368A97}"/>
                </a:ext>
              </a:extLst>
            </p:cNvPr>
            <p:cNvCxnSpPr>
              <a:cxnSpLocks/>
            </p:cNvCxnSpPr>
            <p:nvPr/>
          </p:nvCxnSpPr>
          <p:spPr>
            <a:xfrm>
              <a:off x="340600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1023477B-D229-44F7-BFFD-55D369FD1F04}"/>
                </a:ext>
              </a:extLst>
            </p:cNvPr>
            <p:cNvCxnSpPr>
              <a:cxnSpLocks/>
            </p:cNvCxnSpPr>
            <p:nvPr/>
          </p:nvCxnSpPr>
          <p:spPr>
            <a:xfrm>
              <a:off x="4270104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BF171CA9-90C5-4640-9BF9-3DA0A829BB08}"/>
                </a:ext>
              </a:extLst>
            </p:cNvPr>
            <p:cNvCxnSpPr>
              <a:cxnSpLocks/>
            </p:cNvCxnSpPr>
            <p:nvPr/>
          </p:nvCxnSpPr>
          <p:spPr>
            <a:xfrm>
              <a:off x="500569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>
              <a:extLst>
                <a:ext uri="{FF2B5EF4-FFF2-40B4-BE49-F238E27FC236}">
                  <a16:creationId xmlns:a16="http://schemas.microsoft.com/office/drawing/2014/main" id="{1053A582-E9BB-42F9-9094-D91CF8FA5FB1}"/>
                </a:ext>
              </a:extLst>
            </p:cNvPr>
            <p:cNvCxnSpPr>
              <a:cxnSpLocks/>
            </p:cNvCxnSpPr>
            <p:nvPr/>
          </p:nvCxnSpPr>
          <p:spPr>
            <a:xfrm>
              <a:off x="5941565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07A0823D-F5B0-46D5-B4FC-8BC3090FFE7B}"/>
                </a:ext>
              </a:extLst>
            </p:cNvPr>
            <p:cNvCxnSpPr>
              <a:cxnSpLocks/>
            </p:cNvCxnSpPr>
            <p:nvPr/>
          </p:nvCxnSpPr>
          <p:spPr>
            <a:xfrm>
              <a:off x="6904178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C2C3A09D-BA9D-4325-8060-051E4AE06D04}"/>
                </a:ext>
              </a:extLst>
            </p:cNvPr>
            <p:cNvCxnSpPr>
              <a:cxnSpLocks/>
            </p:cNvCxnSpPr>
            <p:nvPr/>
          </p:nvCxnSpPr>
          <p:spPr>
            <a:xfrm>
              <a:off x="764162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CA0F296E-7C44-439D-BF12-E302779DB4D0}"/>
                </a:ext>
              </a:extLst>
            </p:cNvPr>
            <p:cNvCxnSpPr>
              <a:cxnSpLocks/>
            </p:cNvCxnSpPr>
            <p:nvPr/>
          </p:nvCxnSpPr>
          <p:spPr>
            <a:xfrm>
              <a:off x="854091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68D117F9-FF0E-45FC-85F8-15D99F899FEE}"/>
                </a:ext>
              </a:extLst>
            </p:cNvPr>
            <p:cNvCxnSpPr>
              <a:cxnSpLocks/>
            </p:cNvCxnSpPr>
            <p:nvPr/>
          </p:nvCxnSpPr>
          <p:spPr>
            <a:xfrm>
              <a:off x="923895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CCAAD404-4A5F-4E53-A1C6-8CFC6B273BAB}"/>
                </a:ext>
              </a:extLst>
            </p:cNvPr>
            <p:cNvCxnSpPr>
              <a:cxnSpLocks/>
            </p:cNvCxnSpPr>
            <p:nvPr/>
          </p:nvCxnSpPr>
          <p:spPr>
            <a:xfrm>
              <a:off x="9821603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8DED72D9-8F38-4440-B01C-E11E9A931A96}"/>
                </a:ext>
              </a:extLst>
            </p:cNvPr>
            <p:cNvCxnSpPr>
              <a:cxnSpLocks/>
            </p:cNvCxnSpPr>
            <p:nvPr/>
          </p:nvCxnSpPr>
          <p:spPr>
            <a:xfrm>
              <a:off x="10651931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893D9698-6451-48A5-B71D-D43B66273C20}"/>
                </a:ext>
              </a:extLst>
            </p:cNvPr>
            <p:cNvCxnSpPr>
              <a:cxnSpLocks/>
            </p:cNvCxnSpPr>
            <p:nvPr/>
          </p:nvCxnSpPr>
          <p:spPr>
            <a:xfrm>
              <a:off x="1121206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E1BAA2D-CF53-4E06-B1EB-F6FC067C6B82}"/>
              </a:ext>
            </a:extLst>
          </p:cNvPr>
          <p:cNvGrpSpPr/>
          <p:nvPr/>
        </p:nvGrpSpPr>
        <p:grpSpPr>
          <a:xfrm>
            <a:off x="304975" y="1457990"/>
            <a:ext cx="11887025" cy="655389"/>
            <a:chOff x="304975" y="1433125"/>
            <a:chExt cx="11887025" cy="655389"/>
          </a:xfrm>
        </p:grpSpPr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7F0C0905-0362-431B-BBC9-E85C06517978}"/>
                </a:ext>
              </a:extLst>
            </p:cNvPr>
            <p:cNvSpPr/>
            <p:nvPr/>
          </p:nvSpPr>
          <p:spPr bwMode="auto">
            <a:xfrm>
              <a:off x="1402080" y="1433125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22CC20D9-E224-4220-8A95-47FB72F50065}"/>
                </a:ext>
              </a:extLst>
            </p:cNvPr>
            <p:cNvCxnSpPr>
              <a:cxnSpLocks/>
            </p:cNvCxnSpPr>
            <p:nvPr/>
          </p:nvCxnSpPr>
          <p:spPr>
            <a:xfrm>
              <a:off x="2384344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DF29808B-DB13-4346-8746-CB7E40FFCAD9}"/>
                </a:ext>
              </a:extLst>
            </p:cNvPr>
            <p:cNvSpPr/>
            <p:nvPr/>
          </p:nvSpPr>
          <p:spPr bwMode="auto">
            <a:xfrm>
              <a:off x="304975" y="1433125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dentity</a:t>
              </a:r>
            </a:p>
          </p:txBody>
        </p:sp>
        <p:sp>
          <p:nvSpPr>
            <p:cNvPr id="508" name="TextBox 507">
              <a:extLst>
                <a:ext uri="{FF2B5EF4-FFF2-40B4-BE49-F238E27FC236}">
                  <a16:creationId xmlns:a16="http://schemas.microsoft.com/office/drawing/2014/main" id="{1146EDCB-77D5-499B-A7DA-E7C379EF2E23}"/>
                </a:ext>
              </a:extLst>
            </p:cNvPr>
            <p:cNvSpPr txBox="1"/>
            <p:nvPr/>
          </p:nvSpPr>
          <p:spPr>
            <a:xfrm>
              <a:off x="4462206" y="1751257"/>
              <a:ext cx="652423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ct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rectory fo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omain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7" name="Graphic 266">
              <a:extLst>
                <a:ext uri="{FF2B5EF4-FFF2-40B4-BE49-F238E27FC236}">
                  <a16:creationId xmlns:a16="http://schemas.microsoft.com/office/drawing/2014/main" id="{2E61F472-B8AA-466E-8B0E-3E72EC6C7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4693101" y="1499361"/>
              <a:ext cx="190632" cy="190631"/>
            </a:xfrm>
            <a:prstGeom prst="rect">
              <a:avLst/>
            </a:prstGeom>
          </p:spPr>
        </p:pic>
        <p:sp>
          <p:nvSpPr>
            <p:cNvPr id="514" name="TextBox 513">
              <a:extLst>
                <a:ext uri="{FF2B5EF4-FFF2-40B4-BE49-F238E27FC236}">
                  <a16:creationId xmlns:a16="http://schemas.microsoft.com/office/drawing/2014/main" id="{A5BB2C70-F672-4B5A-870C-E8D1B216000B}"/>
                </a:ext>
              </a:extLst>
            </p:cNvPr>
            <p:cNvSpPr txBox="1"/>
            <p:nvPr/>
          </p:nvSpPr>
          <p:spPr>
            <a:xfrm>
              <a:off x="6497013" y="1751257"/>
              <a:ext cx="46647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curity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forma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8" name="Graphic 267">
              <a:extLst>
                <a:ext uri="{FF2B5EF4-FFF2-40B4-BE49-F238E27FC236}">
                  <a16:creationId xmlns:a16="http://schemas.microsoft.com/office/drawing/2014/main" id="{45BF6729-4382-44F8-B77A-36D13C467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634934" y="1539694"/>
              <a:ext cx="190631" cy="190631"/>
            </a:xfrm>
            <a:prstGeom prst="rect">
              <a:avLst/>
            </a:prstGeom>
          </p:spPr>
        </p:pic>
        <p:sp>
          <p:nvSpPr>
            <p:cNvPr id="511" name="TextBox 510">
              <a:extLst>
                <a:ext uri="{FF2B5EF4-FFF2-40B4-BE49-F238E27FC236}">
                  <a16:creationId xmlns:a16="http://schemas.microsoft.com/office/drawing/2014/main" id="{2BEB5115-9E67-4B62-8567-8A92D9D952F3}"/>
                </a:ext>
              </a:extLst>
            </p:cNvPr>
            <p:cNvSpPr txBox="1"/>
            <p:nvPr/>
          </p:nvSpPr>
          <p:spPr>
            <a:xfrm>
              <a:off x="5535716" y="1751257"/>
              <a:ext cx="540212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ct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rectory B2C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51E231A0-2042-487A-A699-84B555286F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710505" y="1520644"/>
              <a:ext cx="190631" cy="190632"/>
            </a:xfrm>
            <a:prstGeom prst="rect">
              <a:avLst/>
            </a:prstGeom>
          </p:spPr>
        </p:pic>
        <p:sp>
          <p:nvSpPr>
            <p:cNvPr id="499" name="TextBox 498">
              <a:extLst>
                <a:ext uri="{FF2B5EF4-FFF2-40B4-BE49-F238E27FC236}">
                  <a16:creationId xmlns:a16="http://schemas.microsoft.com/office/drawing/2014/main" id="{8BEEF55A-9D68-4989-A9DF-6F005D5C158E}"/>
                </a:ext>
              </a:extLst>
            </p:cNvPr>
            <p:cNvSpPr txBox="1"/>
            <p:nvPr/>
          </p:nvSpPr>
          <p:spPr>
            <a:xfrm>
              <a:off x="1655252" y="1751257"/>
              <a:ext cx="492122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ctiv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recto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70" name="Graphic 269">
              <a:extLst>
                <a:ext uri="{FF2B5EF4-FFF2-40B4-BE49-F238E27FC236}">
                  <a16:creationId xmlns:a16="http://schemas.microsoft.com/office/drawing/2014/main" id="{224CDDEF-A81F-4223-81C3-D4B6CD5F4E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805997" y="1527052"/>
              <a:ext cx="190631" cy="190631"/>
            </a:xfrm>
            <a:prstGeom prst="rect">
              <a:avLst/>
            </a:prstGeom>
          </p:spPr>
        </p:pic>
        <p:sp>
          <p:nvSpPr>
            <p:cNvPr id="502" name="TextBox 501">
              <a:extLst>
                <a:ext uri="{FF2B5EF4-FFF2-40B4-BE49-F238E27FC236}">
                  <a16:creationId xmlns:a16="http://schemas.microsoft.com/office/drawing/2014/main" id="{701ACFA2-B6B6-467D-BCDD-18BDE78ABA62}"/>
                </a:ext>
              </a:extLst>
            </p:cNvPr>
            <p:cNvSpPr txBox="1"/>
            <p:nvPr/>
          </p:nvSpPr>
          <p:spPr>
            <a:xfrm>
              <a:off x="2568461" y="1751257"/>
              <a:ext cx="585097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ulti-Facto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thentica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2" name="Graphic 331" descr="Multi-factor Authentication">
              <a:extLst>
                <a:ext uri="{FF2B5EF4-FFF2-40B4-BE49-F238E27FC236}">
                  <a16:creationId xmlns:a16="http://schemas.microsoft.com/office/drawing/2014/main" id="{5B9A3ACC-D1D7-4893-BEBA-1B9616CD9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2765694" y="1527052"/>
              <a:ext cx="190631" cy="190631"/>
            </a:xfrm>
            <a:prstGeom prst="rect">
              <a:avLst/>
            </a:prstGeom>
          </p:spPr>
        </p:pic>
        <p:sp>
          <p:nvSpPr>
            <p:cNvPr id="505" name="TextBox 504">
              <a:extLst>
                <a:ext uri="{FF2B5EF4-FFF2-40B4-BE49-F238E27FC236}">
                  <a16:creationId xmlns:a16="http://schemas.microsoft.com/office/drawing/2014/main" id="{6BF137D4-1D63-49B6-997B-43B7F16B6872}"/>
                </a:ext>
              </a:extLst>
            </p:cNvPr>
            <p:cNvSpPr txBox="1"/>
            <p:nvPr/>
          </p:nvSpPr>
          <p:spPr>
            <a:xfrm>
              <a:off x="3574645" y="1751257"/>
              <a:ext cx="466474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formatio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5" name="Picture 334">
              <a:extLst>
                <a:ext uri="{FF2B5EF4-FFF2-40B4-BE49-F238E27FC236}">
                  <a16:creationId xmlns:a16="http://schemas.microsoft.com/office/drawing/2014/main" id="{18E95CC6-4CC7-4D21-96E6-6E3C220CE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710960" y="1486859"/>
              <a:ext cx="193844" cy="193844"/>
            </a:xfrm>
            <a:prstGeom prst="rect">
              <a:avLst/>
            </a:prstGeom>
          </p:spPr>
        </p:pic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B27B8E51-9EA6-4D14-8964-DB25838574F2}"/>
                </a:ext>
              </a:extLst>
            </p:cNvPr>
            <p:cNvCxnSpPr>
              <a:cxnSpLocks/>
            </p:cNvCxnSpPr>
            <p:nvPr/>
          </p:nvCxnSpPr>
          <p:spPr>
            <a:xfrm>
              <a:off x="3406002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3237703A-CB5B-4DA0-9F4C-44C86B0E76A1}"/>
                </a:ext>
              </a:extLst>
            </p:cNvPr>
            <p:cNvCxnSpPr>
              <a:cxnSpLocks/>
            </p:cNvCxnSpPr>
            <p:nvPr/>
          </p:nvCxnSpPr>
          <p:spPr>
            <a:xfrm>
              <a:off x="4270104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id="{A610C61A-63AF-4A24-8A03-481EE8BE36CE}"/>
                </a:ext>
              </a:extLst>
            </p:cNvPr>
            <p:cNvCxnSpPr>
              <a:cxnSpLocks/>
            </p:cNvCxnSpPr>
            <p:nvPr/>
          </p:nvCxnSpPr>
          <p:spPr>
            <a:xfrm>
              <a:off x="5353216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Connector 294">
              <a:extLst>
                <a:ext uri="{FF2B5EF4-FFF2-40B4-BE49-F238E27FC236}">
                  <a16:creationId xmlns:a16="http://schemas.microsoft.com/office/drawing/2014/main" id="{BD371A53-C14F-4F27-8F75-318A238C68BF}"/>
                </a:ext>
              </a:extLst>
            </p:cNvPr>
            <p:cNvCxnSpPr>
              <a:cxnSpLocks/>
            </p:cNvCxnSpPr>
            <p:nvPr/>
          </p:nvCxnSpPr>
          <p:spPr>
            <a:xfrm>
              <a:off x="6331089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13A76B4-63BA-451D-889C-4C8A197233E6}"/>
              </a:ext>
            </a:extLst>
          </p:cNvPr>
          <p:cNvGrpSpPr/>
          <p:nvPr/>
        </p:nvGrpSpPr>
        <p:grpSpPr>
          <a:xfrm>
            <a:off x="304975" y="3844593"/>
            <a:ext cx="11887025" cy="655389"/>
            <a:chOff x="304975" y="3108651"/>
            <a:chExt cx="11887025" cy="655389"/>
          </a:xfrm>
        </p:grpSpPr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BAB748F6-3021-49F6-8D86-BE2CC3251861}"/>
                </a:ext>
              </a:extLst>
            </p:cNvPr>
            <p:cNvSpPr/>
            <p:nvPr/>
          </p:nvSpPr>
          <p:spPr bwMode="auto">
            <a:xfrm>
              <a:off x="1402080" y="3108651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2706633F-7CE9-4613-A7CE-C6228FD4B1C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47375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4" name="TextBox 483">
              <a:extLst>
                <a:ext uri="{FF2B5EF4-FFF2-40B4-BE49-F238E27FC236}">
                  <a16:creationId xmlns:a16="http://schemas.microsoft.com/office/drawing/2014/main" id="{B16A4948-DC28-4BB7-85BD-1D48995F0B58}"/>
                </a:ext>
              </a:extLst>
            </p:cNvPr>
            <p:cNvSpPr txBox="1"/>
            <p:nvPr/>
          </p:nvSpPr>
          <p:spPr>
            <a:xfrm>
              <a:off x="3192711" y="3455979"/>
              <a:ext cx="38953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Lab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5" name="Graphic 254">
              <a:extLst>
                <a:ext uri="{FF2B5EF4-FFF2-40B4-BE49-F238E27FC236}">
                  <a16:creationId xmlns:a16="http://schemas.microsoft.com/office/drawing/2014/main" id="{ADC6285A-EA03-4DDD-BD5A-13439F403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3263594" y="3175696"/>
              <a:ext cx="247762" cy="247763"/>
            </a:xfrm>
            <a:prstGeom prst="rect">
              <a:avLst/>
            </a:prstGeom>
          </p:spPr>
        </p:pic>
        <p:sp>
          <p:nvSpPr>
            <p:cNvPr id="493" name="TextBox 492">
              <a:extLst>
                <a:ext uri="{FF2B5EF4-FFF2-40B4-BE49-F238E27FC236}">
                  <a16:creationId xmlns:a16="http://schemas.microsoft.com/office/drawing/2014/main" id="{0326FAA5-553E-4D83-AFED-C5E405AC9457}"/>
                </a:ext>
              </a:extLst>
            </p:cNvPr>
            <p:cNvSpPr txBox="1"/>
            <p:nvPr/>
          </p:nvSpPr>
          <p:spPr>
            <a:xfrm>
              <a:off x="5429859" y="3455979"/>
              <a:ext cx="456856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ckeyApp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6" name="Graphic 255">
              <a:extLst>
                <a:ext uri="{FF2B5EF4-FFF2-40B4-BE49-F238E27FC236}">
                  <a16:creationId xmlns:a16="http://schemas.microsoft.com/office/drawing/2014/main" id="{4E5291CD-1569-45BC-BA0D-E06643C30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>
              <a:extLst>
                <a:ext uri="{96DAC541-7B7A-43D3-8B79-37D633B846F1}">
                  <asvg:svgBlip xmlns:asvg="http://schemas.microsoft.com/office/drawing/2016/SVG/main" r:embed="rId50"/>
                </a:ext>
              </a:extLst>
            </a:blip>
            <a:stretch>
              <a:fillRect/>
            </a:stretch>
          </p:blipFill>
          <p:spPr>
            <a:xfrm>
              <a:off x="5534406" y="3234143"/>
              <a:ext cx="247762" cy="247762"/>
            </a:xfrm>
            <a:prstGeom prst="rect">
              <a:avLst/>
            </a:prstGeom>
          </p:spPr>
        </p:pic>
        <p:sp>
          <p:nvSpPr>
            <p:cNvPr id="481" name="TextBox 480">
              <a:extLst>
                <a:ext uri="{FF2B5EF4-FFF2-40B4-BE49-F238E27FC236}">
                  <a16:creationId xmlns:a16="http://schemas.microsoft.com/office/drawing/2014/main" id="{02B5B6E5-32D9-45FE-A191-F79AF725A2FB}"/>
                </a:ext>
              </a:extLst>
            </p:cNvPr>
            <p:cNvSpPr txBox="1"/>
            <p:nvPr/>
          </p:nvSpPr>
          <p:spPr>
            <a:xfrm>
              <a:off x="2353221" y="3455979"/>
              <a:ext cx="452047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licatio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sight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61" name="Graphic 260">
              <a:extLst>
                <a:ext uri="{FF2B5EF4-FFF2-40B4-BE49-F238E27FC236}">
                  <a16:creationId xmlns:a16="http://schemas.microsoft.com/office/drawing/2014/main" id="{5556A107-F560-4BEC-8406-6C23BCC14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>
              <a:extLst>
                <a:ext uri="{96DAC541-7B7A-43D3-8B79-37D633B846F1}">
                  <asvg:svgBlip xmlns:asvg="http://schemas.microsoft.com/office/drawing/2016/SVG/main" r:embed="rId53"/>
                </a:ext>
              </a:extLst>
            </a:blip>
            <a:stretch>
              <a:fillRect/>
            </a:stretch>
          </p:blipFill>
          <p:spPr>
            <a:xfrm>
              <a:off x="2455364" y="3175697"/>
              <a:ext cx="247762" cy="247762"/>
            </a:xfrm>
            <a:prstGeom prst="rect">
              <a:avLst/>
            </a:prstGeom>
          </p:spPr>
        </p:pic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14BDC95E-DEFC-45BE-98EB-9D0964FD23C0}"/>
                </a:ext>
              </a:extLst>
            </p:cNvPr>
            <p:cNvSpPr txBox="1"/>
            <p:nvPr/>
          </p:nvSpPr>
          <p:spPr>
            <a:xfrm>
              <a:off x="3969684" y="3455979"/>
              <a:ext cx="291747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S App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ent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26" name="Graphic 6" descr="Visual Studio App Center">
              <a:extLst>
                <a:ext uri="{FF2B5EF4-FFF2-40B4-BE49-F238E27FC236}">
                  <a16:creationId xmlns:a16="http://schemas.microsoft.com/office/drawing/2014/main" id="{9CF5CABA-C01F-4411-9938-5BFFE6553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3991677" y="3175696"/>
              <a:ext cx="247762" cy="247763"/>
            </a:xfrm>
            <a:prstGeom prst="rect">
              <a:avLst/>
            </a:prstGeom>
          </p:spPr>
        </p:pic>
        <p:sp>
          <p:nvSpPr>
            <p:cNvPr id="478" name="TextBox 477">
              <a:extLst>
                <a:ext uri="{FF2B5EF4-FFF2-40B4-BE49-F238E27FC236}">
                  <a16:creationId xmlns:a16="http://schemas.microsoft.com/office/drawing/2014/main" id="{E3D308E2-1042-40EB-8E0A-17566D794299}"/>
                </a:ext>
              </a:extLst>
            </p:cNvPr>
            <p:cNvSpPr txBox="1"/>
            <p:nvPr/>
          </p:nvSpPr>
          <p:spPr>
            <a:xfrm>
              <a:off x="1666781" y="3455979"/>
              <a:ext cx="31098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vO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4" name="Graphic 10" descr="Virtual Studio Team Services">
              <a:extLst>
                <a:ext uri="{FF2B5EF4-FFF2-40B4-BE49-F238E27FC236}">
                  <a16:creationId xmlns:a16="http://schemas.microsoft.com/office/drawing/2014/main" id="{2BA31E7C-6F0E-4465-A094-246CD022C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9"/>
                </a:ext>
              </a:extLst>
            </a:blip>
            <a:stretch>
              <a:fillRect/>
            </a:stretch>
          </p:blipFill>
          <p:spPr>
            <a:xfrm>
              <a:off x="1698392" y="3175696"/>
              <a:ext cx="247763" cy="247763"/>
            </a:xfrm>
            <a:prstGeom prst="rect">
              <a:avLst/>
            </a:prstGeom>
          </p:spPr>
        </p:pic>
        <p:sp>
          <p:nvSpPr>
            <p:cNvPr id="490" name="TextBox 489">
              <a:extLst>
                <a:ext uri="{FF2B5EF4-FFF2-40B4-BE49-F238E27FC236}">
                  <a16:creationId xmlns:a16="http://schemas.microsoft.com/office/drawing/2014/main" id="{BA8AF25D-4035-49F5-9BBA-A04D09D8CE90}"/>
                </a:ext>
              </a:extLst>
            </p:cNvPr>
            <p:cNvSpPr txBox="1"/>
            <p:nvPr/>
          </p:nvSpPr>
          <p:spPr>
            <a:xfrm>
              <a:off x="4648874" y="3455979"/>
              <a:ext cx="476092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velop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ool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tegration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2" name="Picture 341">
              <a:extLst>
                <a:ext uri="{FF2B5EF4-FFF2-40B4-BE49-F238E27FC236}">
                  <a16:creationId xmlns:a16="http://schemas.microsoft.com/office/drawing/2014/main" id="{EC1377EE-B1B9-469F-851B-04A62E6A6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4760950" y="3171520"/>
              <a:ext cx="251937" cy="251939"/>
            </a:xfrm>
            <a:prstGeom prst="rect">
              <a:avLst/>
            </a:prstGeom>
          </p:spPr>
        </p:pic>
        <p:sp>
          <p:nvSpPr>
            <p:cNvPr id="496" name="TextBox 495">
              <a:extLst>
                <a:ext uri="{FF2B5EF4-FFF2-40B4-BE49-F238E27FC236}">
                  <a16:creationId xmlns:a16="http://schemas.microsoft.com/office/drawing/2014/main" id="{BACF42BB-2EB7-4F99-BF68-A7971FB38121}"/>
                </a:ext>
              </a:extLst>
            </p:cNvPr>
            <p:cNvSpPr txBox="1"/>
            <p:nvPr/>
          </p:nvSpPr>
          <p:spPr>
            <a:xfrm>
              <a:off x="6274159" y="3455979"/>
              <a:ext cx="312586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vOp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oject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74" name="Graphic 10" descr="Virtual Studio Team Services">
              <a:extLst>
                <a:ext uri="{FF2B5EF4-FFF2-40B4-BE49-F238E27FC236}">
                  <a16:creationId xmlns:a16="http://schemas.microsoft.com/office/drawing/2014/main" id="{B3CE902E-868B-47B0-8A42-C38DF38B0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9"/>
                </a:ext>
              </a:extLst>
            </a:blip>
            <a:stretch>
              <a:fillRect/>
            </a:stretch>
          </p:blipFill>
          <p:spPr>
            <a:xfrm>
              <a:off x="6306570" y="3175697"/>
              <a:ext cx="247762" cy="247762"/>
            </a:xfrm>
            <a:prstGeom prst="rect">
              <a:avLst/>
            </a:prstGeom>
          </p:spPr>
        </p:pic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24ED083C-64FD-4A2F-A490-6203F54287B9}"/>
                </a:ext>
              </a:extLst>
            </p:cNvPr>
            <p:cNvSpPr/>
            <p:nvPr/>
          </p:nvSpPr>
          <p:spPr bwMode="auto">
            <a:xfrm>
              <a:off x="304975" y="3108651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evOps</a:t>
              </a:r>
            </a:p>
          </p:txBody>
        </p: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C7A0EDB2-1536-4640-A42A-7D394EDD54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31371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Connector 350">
              <a:extLst>
                <a:ext uri="{FF2B5EF4-FFF2-40B4-BE49-F238E27FC236}">
                  <a16:creationId xmlns:a16="http://schemas.microsoft.com/office/drawing/2014/main" id="{F6D32374-D728-4F67-901A-D047A1907E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72111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77DAF488-16A1-4299-96D4-8EE67A2A5BF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80176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>
              <a:extLst>
                <a:ext uri="{FF2B5EF4-FFF2-40B4-BE49-F238E27FC236}">
                  <a16:creationId xmlns:a16="http://schemas.microsoft.com/office/drawing/2014/main" id="{F823FE50-7F91-478D-A589-A720C17AA77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93660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A95406EC-DAC2-4DD6-B2AE-43379D05B4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0063" y="3108651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6407A28-8905-410C-B969-286DFB038E7D}"/>
              </a:ext>
            </a:extLst>
          </p:cNvPr>
          <p:cNvGrpSpPr/>
          <p:nvPr/>
        </p:nvGrpSpPr>
        <p:grpSpPr>
          <a:xfrm>
            <a:off x="304975" y="5571577"/>
            <a:ext cx="11887025" cy="655389"/>
            <a:chOff x="304975" y="4784177"/>
            <a:chExt cx="11887025" cy="655389"/>
          </a:xfrm>
        </p:grpSpPr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260E6118-8245-48F3-A32D-F59405374D19}"/>
                </a:ext>
              </a:extLst>
            </p:cNvPr>
            <p:cNvSpPr/>
            <p:nvPr/>
          </p:nvSpPr>
          <p:spPr bwMode="auto">
            <a:xfrm>
              <a:off x="1402080" y="4784177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D4DE6B27-8470-44A6-9B22-0672B56DFEA9}"/>
                </a:ext>
              </a:extLst>
            </p:cNvPr>
            <p:cNvCxnSpPr>
              <a:cxnSpLocks/>
            </p:cNvCxnSpPr>
            <p:nvPr/>
          </p:nvCxnSpPr>
          <p:spPr>
            <a:xfrm>
              <a:off x="2146693" y="4784177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4" name="TextBox 723">
              <a:extLst>
                <a:ext uri="{FF2B5EF4-FFF2-40B4-BE49-F238E27FC236}">
                  <a16:creationId xmlns:a16="http://schemas.microsoft.com/office/drawing/2014/main" id="{06AFA59F-0C4D-43C1-833B-256BA4BFA139}"/>
                </a:ext>
              </a:extLst>
            </p:cNvPr>
            <p:cNvSpPr txBox="1"/>
            <p:nvPr/>
          </p:nvSpPr>
          <p:spPr>
            <a:xfrm>
              <a:off x="3059840" y="5084512"/>
              <a:ext cx="690895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base</a:t>
              </a:r>
            </a:p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gration 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0" name="Graphic 249">
              <a:extLst>
                <a:ext uri="{FF2B5EF4-FFF2-40B4-BE49-F238E27FC236}">
                  <a16:creationId xmlns:a16="http://schemas.microsoft.com/office/drawing/2014/main" id="{0110B24B-C7EE-49FB-80DD-72D3D0C698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>
              <a:extLst>
                <a:ext uri="{96DAC541-7B7A-43D3-8B79-37D633B846F1}">
                  <asvg:svgBlip xmlns:asvg="http://schemas.microsoft.com/office/drawing/2016/SVG/main" r:embed="rId64"/>
                </a:ext>
              </a:extLst>
            </a:blip>
            <a:stretch>
              <a:fillRect/>
            </a:stretch>
          </p:blipFill>
          <p:spPr>
            <a:xfrm>
              <a:off x="3300495" y="4852137"/>
              <a:ext cx="209585" cy="209585"/>
            </a:xfrm>
            <a:prstGeom prst="rect">
              <a:avLst/>
            </a:prstGeom>
          </p:spPr>
        </p:pic>
        <p:sp>
          <p:nvSpPr>
            <p:cNvPr id="721" name="TextBox 720">
              <a:extLst>
                <a:ext uri="{FF2B5EF4-FFF2-40B4-BE49-F238E27FC236}">
                  <a16:creationId xmlns:a16="http://schemas.microsoft.com/office/drawing/2014/main" id="{EEB4A1CE-D843-4081-8D73-AD46EB330AC8}"/>
                </a:ext>
              </a:extLst>
            </p:cNvPr>
            <p:cNvSpPr txBox="1"/>
            <p:nvPr/>
          </p:nvSpPr>
          <p:spPr>
            <a:xfrm>
              <a:off x="2341012" y="5084512"/>
              <a:ext cx="525785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st</a:t>
              </a:r>
            </a:p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nagemen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1" name="Picture 330" descr="Cost Management">
              <a:extLst>
                <a:ext uri="{FF2B5EF4-FFF2-40B4-BE49-F238E27FC236}">
                  <a16:creationId xmlns:a16="http://schemas.microsoft.com/office/drawing/2014/main" id="{E57CCBED-0B8B-4710-A918-0E653B4DC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5"/>
            <a:stretch>
              <a:fillRect/>
            </a:stretch>
          </p:blipFill>
          <p:spPr>
            <a:xfrm>
              <a:off x="2499111" y="4826762"/>
              <a:ext cx="209585" cy="234960"/>
            </a:xfrm>
            <a:prstGeom prst="rect">
              <a:avLst/>
            </a:prstGeom>
          </p:spPr>
        </p:pic>
        <p:sp>
          <p:nvSpPr>
            <p:cNvPr id="727" name="TextBox 726">
              <a:extLst>
                <a:ext uri="{FF2B5EF4-FFF2-40B4-BE49-F238E27FC236}">
                  <a16:creationId xmlns:a16="http://schemas.microsoft.com/office/drawing/2014/main" id="{5F37C400-612F-4996-9300-2579FCDEB2E2}"/>
                </a:ext>
              </a:extLst>
            </p:cNvPr>
            <p:cNvSpPr txBox="1"/>
            <p:nvPr/>
          </p:nvSpPr>
          <p:spPr>
            <a:xfrm>
              <a:off x="4012897" y="5084512"/>
              <a:ext cx="307777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</a:p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grat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3" name="Graphic 342">
              <a:extLst>
                <a:ext uri="{FF2B5EF4-FFF2-40B4-BE49-F238E27FC236}">
                  <a16:creationId xmlns:a16="http://schemas.microsoft.com/office/drawing/2014/main" id="{395DB6BF-4100-4F8B-BB7A-0106D83F3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66">
              <a:extLst>
                <a:ext uri="{96DAC541-7B7A-43D3-8B79-37D633B846F1}">
                  <asvg:svgBlip xmlns:asvg="http://schemas.microsoft.com/office/drawing/2016/SVG/main" r:embed="rId67"/>
                </a:ext>
              </a:extLst>
            </a:blip>
            <a:stretch>
              <a:fillRect/>
            </a:stretch>
          </p:blipFill>
          <p:spPr>
            <a:xfrm>
              <a:off x="4061992" y="4852137"/>
              <a:ext cx="209585" cy="209585"/>
            </a:xfrm>
            <a:prstGeom prst="rect">
              <a:avLst/>
            </a:prstGeom>
          </p:spPr>
        </p:pic>
        <p:sp>
          <p:nvSpPr>
            <p:cNvPr id="717" name="TextBox 716">
              <a:extLst>
                <a:ext uri="{FF2B5EF4-FFF2-40B4-BE49-F238E27FC236}">
                  <a16:creationId xmlns:a16="http://schemas.microsoft.com/office/drawing/2014/main" id="{56B045C7-E67E-44E5-BFAA-F8B74262A503}"/>
                </a:ext>
              </a:extLst>
            </p:cNvPr>
            <p:cNvSpPr txBox="1"/>
            <p:nvPr/>
          </p:nvSpPr>
          <p:spPr>
            <a:xfrm>
              <a:off x="1643538" y="5084512"/>
              <a:ext cx="35747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t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cove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4" name="Graphic 343">
              <a:extLst>
                <a:ext uri="{FF2B5EF4-FFF2-40B4-BE49-F238E27FC236}">
                  <a16:creationId xmlns:a16="http://schemas.microsoft.com/office/drawing/2014/main" id="{0C7F6B4B-EA0A-4A43-883B-EEAA52546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9">
              <a:extLst>
                <a:ext uri="{96DAC541-7B7A-43D3-8B79-37D633B846F1}">
                  <asvg:svgBlip xmlns:asvg="http://schemas.microsoft.com/office/drawing/2016/SVG/main" r:embed="rId70"/>
                </a:ext>
              </a:extLst>
            </a:blip>
            <a:stretch>
              <a:fillRect/>
            </a:stretch>
          </p:blipFill>
          <p:spPr>
            <a:xfrm>
              <a:off x="1717480" y="4852138"/>
              <a:ext cx="209585" cy="209584"/>
            </a:xfrm>
            <a:prstGeom prst="rect">
              <a:avLst/>
            </a:prstGeom>
          </p:spPr>
        </p:pic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6C532554-6373-4EAD-9F51-07084D41B0D5}"/>
                </a:ext>
              </a:extLst>
            </p:cNvPr>
            <p:cNvSpPr/>
            <p:nvPr/>
          </p:nvSpPr>
          <p:spPr bwMode="auto">
            <a:xfrm>
              <a:off x="304975" y="4784177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Migration</a:t>
              </a:r>
            </a:p>
          </p:txBody>
        </p: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A6531141-D379-4ECC-BE85-F71EA3028CA9}"/>
                </a:ext>
              </a:extLst>
            </p:cNvPr>
            <p:cNvCxnSpPr>
              <a:cxnSpLocks/>
            </p:cNvCxnSpPr>
            <p:nvPr/>
          </p:nvCxnSpPr>
          <p:spPr>
            <a:xfrm>
              <a:off x="3030632" y="4784177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8B52CBB2-581F-4748-8437-BAA58BD87851}"/>
                </a:ext>
              </a:extLst>
            </p:cNvPr>
            <p:cNvCxnSpPr>
              <a:cxnSpLocks/>
            </p:cNvCxnSpPr>
            <p:nvPr/>
          </p:nvCxnSpPr>
          <p:spPr>
            <a:xfrm>
              <a:off x="3772242" y="4784177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5" name="Oval 364">
            <a:extLst>
              <a:ext uri="{FF2B5EF4-FFF2-40B4-BE49-F238E27FC236}">
                <a16:creationId xmlns:a16="http://schemas.microsoft.com/office/drawing/2014/main" id="{66BD91DF-D89F-4A90-B982-C8C92B1BDBEA}"/>
              </a:ext>
            </a:extLst>
          </p:cNvPr>
          <p:cNvSpPr/>
          <p:nvPr/>
        </p:nvSpPr>
        <p:spPr bwMode="auto">
          <a:xfrm>
            <a:off x="104475" y="6383751"/>
            <a:ext cx="203200" cy="203200"/>
          </a:xfrm>
          <a:prstGeom prst="ellipse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21B62907-956E-465F-B04D-BDDE06C5C9A5}"/>
              </a:ext>
            </a:extLst>
          </p:cNvPr>
          <p:cNvSpPr/>
          <p:nvPr/>
        </p:nvSpPr>
        <p:spPr bwMode="auto">
          <a:xfrm>
            <a:off x="9501756" y="6483994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AFC7517-894D-422B-8F23-4AD7A6084281}"/>
              </a:ext>
            </a:extLst>
          </p:cNvPr>
          <p:cNvSpPr/>
          <p:nvPr/>
        </p:nvSpPr>
        <p:spPr bwMode="auto">
          <a:xfrm>
            <a:off x="1653286" y="217461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368" name="Rectangle: Rounded Corners 402">
            <a:extLst>
              <a:ext uri="{FF2B5EF4-FFF2-40B4-BE49-F238E27FC236}">
                <a16:creationId xmlns:a16="http://schemas.microsoft.com/office/drawing/2014/main" id="{6CE39198-106E-4FE3-89CD-350A74221EF0}"/>
              </a:ext>
            </a:extLst>
          </p:cNvPr>
          <p:cNvSpPr/>
          <p:nvPr/>
        </p:nvSpPr>
        <p:spPr bwMode="auto">
          <a:xfrm rot="16200000" flipH="1">
            <a:off x="8262454" y="3224770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ADEAEB1-9E4C-4BCE-A175-C9EF8AEB4A00}"/>
              </a:ext>
            </a:extLst>
          </p:cNvPr>
          <p:cNvGrpSpPr/>
          <p:nvPr/>
        </p:nvGrpSpPr>
        <p:grpSpPr>
          <a:xfrm>
            <a:off x="304975" y="4707221"/>
            <a:ext cx="11887025" cy="657115"/>
            <a:chOff x="304975" y="3946414"/>
            <a:chExt cx="11887025" cy="657115"/>
          </a:xfrm>
        </p:grpSpPr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441BA4E1-59B2-498B-84E7-3F4CA4E8B3B9}"/>
                </a:ext>
              </a:extLst>
            </p:cNvPr>
            <p:cNvSpPr/>
            <p:nvPr/>
          </p:nvSpPr>
          <p:spPr bwMode="auto">
            <a:xfrm>
              <a:off x="1402080" y="3948140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559" name="TextBox 558">
              <a:extLst>
                <a:ext uri="{FF2B5EF4-FFF2-40B4-BE49-F238E27FC236}">
                  <a16:creationId xmlns:a16="http://schemas.microsoft.com/office/drawing/2014/main" id="{93331336-80F2-45E5-96E0-711C9D75478B}"/>
                </a:ext>
              </a:extLst>
            </p:cNvPr>
            <p:cNvSpPr txBox="1"/>
            <p:nvPr/>
          </p:nvSpPr>
          <p:spPr>
            <a:xfrm>
              <a:off x="4035781" y="4280160"/>
              <a:ext cx="200376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DK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57" name="Graphic 256">
              <a:extLst>
                <a:ext uri="{FF2B5EF4-FFF2-40B4-BE49-F238E27FC236}">
                  <a16:creationId xmlns:a16="http://schemas.microsoft.com/office/drawing/2014/main" id="{B980D79D-DE7A-4BE9-8046-A430F205E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2">
              <a:extLst>
                <a:ext uri="{96DAC541-7B7A-43D3-8B79-37D633B846F1}">
                  <asvg:svgBlip xmlns:asvg="http://schemas.microsoft.com/office/drawing/2016/SVG/main" r:embed="rId73"/>
                </a:ext>
              </a:extLst>
            </a:blip>
            <a:stretch>
              <a:fillRect/>
            </a:stretch>
          </p:blipFill>
          <p:spPr>
            <a:xfrm>
              <a:off x="4029646" y="3997206"/>
              <a:ext cx="212645" cy="227835"/>
            </a:xfrm>
            <a:prstGeom prst="rect">
              <a:avLst/>
            </a:prstGeom>
          </p:spPr>
        </p:pic>
        <p:sp>
          <p:nvSpPr>
            <p:cNvPr id="556" name="TextBox 555">
              <a:extLst>
                <a:ext uri="{FF2B5EF4-FFF2-40B4-BE49-F238E27FC236}">
                  <a16:creationId xmlns:a16="http://schemas.microsoft.com/office/drawing/2014/main" id="{B82412F6-F349-4838-BFDE-CD64346D9437}"/>
                </a:ext>
              </a:extLst>
            </p:cNvPr>
            <p:cNvSpPr txBox="1"/>
            <p:nvPr/>
          </p:nvSpPr>
          <p:spPr>
            <a:xfrm>
              <a:off x="3132214" y="4280160"/>
              <a:ext cx="560547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sual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udioCod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27" name="Graphic 7" descr="Visual Studio Code">
              <a:extLst>
                <a:ext uri="{FF2B5EF4-FFF2-40B4-BE49-F238E27FC236}">
                  <a16:creationId xmlns:a16="http://schemas.microsoft.com/office/drawing/2014/main" id="{88AA4347-05D6-491E-9EC6-24F0920E3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6"/>
                </a:ext>
              </a:extLst>
            </a:blip>
            <a:stretch>
              <a:fillRect/>
            </a:stretch>
          </p:blipFill>
          <p:spPr>
            <a:xfrm>
              <a:off x="3306164" y="4012395"/>
              <a:ext cx="212646" cy="212646"/>
            </a:xfrm>
            <a:prstGeom prst="rect">
              <a:avLst/>
            </a:prstGeom>
          </p:spPr>
        </p:pic>
        <p:pic>
          <p:nvPicPr>
            <p:cNvPr id="328" name="Graphic 8" descr="Visual Studio">
              <a:extLst>
                <a:ext uri="{FF2B5EF4-FFF2-40B4-BE49-F238E27FC236}">
                  <a16:creationId xmlns:a16="http://schemas.microsoft.com/office/drawing/2014/main" id="{3600C16B-613C-493B-A9CB-8B710EF5C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8"/>
                </a:ext>
              </a:extLst>
            </a:blip>
            <a:stretch>
              <a:fillRect/>
            </a:stretch>
          </p:blipFill>
          <p:spPr>
            <a:xfrm>
              <a:off x="1715951" y="4012395"/>
              <a:ext cx="212646" cy="212646"/>
            </a:xfrm>
            <a:prstGeom prst="rect">
              <a:avLst/>
            </a:prstGeom>
          </p:spPr>
        </p:pic>
        <p:sp>
          <p:nvSpPr>
            <p:cNvPr id="550" name="TextBox 549">
              <a:extLst>
                <a:ext uri="{FF2B5EF4-FFF2-40B4-BE49-F238E27FC236}">
                  <a16:creationId xmlns:a16="http://schemas.microsoft.com/office/drawing/2014/main" id="{5B781F6A-D38B-4530-B92D-8FC54E7ED95D}"/>
                </a:ext>
              </a:extLst>
            </p:cNvPr>
            <p:cNvSpPr txBox="1"/>
            <p:nvPr/>
          </p:nvSpPr>
          <p:spPr>
            <a:xfrm>
              <a:off x="1693231" y="4280160"/>
              <a:ext cx="25808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sual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7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udio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TextBox 552">
              <a:extLst>
                <a:ext uri="{FF2B5EF4-FFF2-40B4-BE49-F238E27FC236}">
                  <a16:creationId xmlns:a16="http://schemas.microsoft.com/office/drawing/2014/main" id="{111CDA35-2866-4D7A-B470-FC2BCC33BD02}"/>
                </a:ext>
              </a:extLst>
            </p:cNvPr>
            <p:cNvSpPr txBox="1"/>
            <p:nvPr/>
          </p:nvSpPr>
          <p:spPr>
            <a:xfrm>
              <a:off x="2432095" y="4280160"/>
              <a:ext cx="31098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vO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29" name="Graphic 10" descr="Virtual Studio Team Services">
              <a:extLst>
                <a:ext uri="{FF2B5EF4-FFF2-40B4-BE49-F238E27FC236}">
                  <a16:creationId xmlns:a16="http://schemas.microsoft.com/office/drawing/2014/main" id="{593E2775-5C4C-4A08-B470-2BFDCFBC9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9"/>
                </a:ext>
              </a:extLst>
            </a:blip>
            <a:stretch>
              <a:fillRect/>
            </a:stretch>
          </p:blipFill>
          <p:spPr>
            <a:xfrm>
              <a:off x="2481264" y="4012395"/>
              <a:ext cx="212646" cy="212646"/>
            </a:xfrm>
            <a:prstGeom prst="rect">
              <a:avLst/>
            </a:prstGeom>
          </p:spPr>
        </p:pic>
        <p:sp>
          <p:nvSpPr>
            <p:cNvPr id="742" name="TextBox 741">
              <a:extLst>
                <a:ext uri="{FF2B5EF4-FFF2-40B4-BE49-F238E27FC236}">
                  <a16:creationId xmlns:a16="http://schemas.microsoft.com/office/drawing/2014/main" id="{840BFAAC-EA5F-4833-B53B-29CD9BDCA10B}"/>
                </a:ext>
              </a:extLst>
            </p:cNvPr>
            <p:cNvSpPr txBox="1"/>
            <p:nvPr/>
          </p:nvSpPr>
          <p:spPr>
            <a:xfrm>
              <a:off x="6230579" y="4280160"/>
              <a:ext cx="45525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lockchain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orkben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3" name="Picture 332" descr=" Blockchain">
              <a:extLst>
                <a:ext uri="{FF2B5EF4-FFF2-40B4-BE49-F238E27FC236}">
                  <a16:creationId xmlns:a16="http://schemas.microsoft.com/office/drawing/2014/main" id="{E0CA2672-8EFA-4978-A6A5-1B98A92DA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1"/>
            <a:stretch>
              <a:fillRect/>
            </a:stretch>
          </p:blipFill>
          <p:spPr>
            <a:xfrm>
              <a:off x="6351882" y="4064992"/>
              <a:ext cx="212646" cy="160049"/>
            </a:xfrm>
            <a:prstGeom prst="rect">
              <a:avLst/>
            </a:prstGeom>
          </p:spPr>
        </p:pic>
        <p:sp>
          <p:nvSpPr>
            <p:cNvPr id="562" name="TextBox 561">
              <a:extLst>
                <a:ext uri="{FF2B5EF4-FFF2-40B4-BE49-F238E27FC236}">
                  <a16:creationId xmlns:a16="http://schemas.microsoft.com/office/drawing/2014/main" id="{888A9146-8120-4E80-8F07-2EAB277CF414}"/>
                </a:ext>
              </a:extLst>
            </p:cNvPr>
            <p:cNvSpPr txBox="1"/>
            <p:nvPr/>
          </p:nvSpPr>
          <p:spPr>
            <a:xfrm>
              <a:off x="4637898" y="4280160"/>
              <a:ext cx="476092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veloper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ool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tegration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0" name="Picture 339">
              <a:extLst>
                <a:ext uri="{FF2B5EF4-FFF2-40B4-BE49-F238E27FC236}">
                  <a16:creationId xmlns:a16="http://schemas.microsoft.com/office/drawing/2014/main" id="{F7C25EA4-5924-4ECF-95E9-FEB68DE7E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4767828" y="4008812"/>
              <a:ext cx="216228" cy="216229"/>
            </a:xfrm>
            <a:prstGeom prst="rect">
              <a:avLst/>
            </a:prstGeom>
          </p:spPr>
        </p:pic>
        <p:sp>
          <p:nvSpPr>
            <p:cNvPr id="565" name="TextBox 564">
              <a:extLst>
                <a:ext uri="{FF2B5EF4-FFF2-40B4-BE49-F238E27FC236}">
                  <a16:creationId xmlns:a16="http://schemas.microsoft.com/office/drawing/2014/main" id="{B7D3E088-745E-468E-8C56-4A8706CDE04D}"/>
                </a:ext>
              </a:extLst>
            </p:cNvPr>
            <p:cNvSpPr txBox="1"/>
            <p:nvPr/>
          </p:nvSpPr>
          <p:spPr>
            <a:xfrm>
              <a:off x="5615218" y="4280160"/>
              <a:ext cx="121829" cy="969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8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L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1" name="Picture 340">
              <a:extLst>
                <a:ext uri="{FF2B5EF4-FFF2-40B4-BE49-F238E27FC236}">
                  <a16:creationId xmlns:a16="http://schemas.microsoft.com/office/drawing/2014/main" id="{9B0D106B-835A-4E01-A757-97419F76C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3"/>
            <a:stretch>
              <a:fillRect/>
            </a:stretch>
          </p:blipFill>
          <p:spPr>
            <a:xfrm>
              <a:off x="5568018" y="4008813"/>
              <a:ext cx="216228" cy="216228"/>
            </a:xfrm>
            <a:prstGeom prst="rect">
              <a:avLst/>
            </a:prstGeom>
          </p:spPr>
        </p:pic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194A53D3-733D-4860-B725-A2E59048EA78}"/>
                </a:ext>
              </a:extLst>
            </p:cNvPr>
            <p:cNvSpPr/>
            <p:nvPr/>
          </p:nvSpPr>
          <p:spPr bwMode="auto">
            <a:xfrm>
              <a:off x="304975" y="3946414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eveloper Tools</a:t>
              </a:r>
            </a:p>
          </p:txBody>
        </p:sp>
        <p:cxnSp>
          <p:nvCxnSpPr>
            <p:cNvPr id="355" name="Straight Connector 354">
              <a:extLst>
                <a:ext uri="{FF2B5EF4-FFF2-40B4-BE49-F238E27FC236}">
                  <a16:creationId xmlns:a16="http://schemas.microsoft.com/office/drawing/2014/main" id="{F73152DE-3786-4B31-9594-E3E4136215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47375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1AD6407B-0F3E-43DB-8C8E-9AB929D49D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31371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1FEF0C2E-2928-4D79-A58A-6DD83751A0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72111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FDD0CB2B-93FB-49FC-A3EB-E118BBDC53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80176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19203D64-C983-4656-BF08-EFA818FB07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93660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DBD2BE20-8036-4236-90FD-14392DFBF7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6413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2" name="Picture 321">
              <a:extLst>
                <a:ext uri="{FF2B5EF4-FFF2-40B4-BE49-F238E27FC236}">
                  <a16:creationId xmlns:a16="http://schemas.microsoft.com/office/drawing/2014/main" id="{83641B87-FCB8-488B-9C23-73341B7DD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4"/>
            <a:stretch>
              <a:fillRect/>
            </a:stretch>
          </p:blipFill>
          <p:spPr>
            <a:xfrm>
              <a:off x="7021083" y="4033726"/>
              <a:ext cx="228600" cy="228600"/>
            </a:xfrm>
            <a:prstGeom prst="rect">
              <a:avLst/>
            </a:prstGeom>
          </p:spPr>
        </p:pic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964F83CF-49AE-46B3-A682-9FC4F600704E}"/>
                </a:ext>
              </a:extLst>
            </p:cNvPr>
            <p:cNvSpPr txBox="1"/>
            <p:nvPr/>
          </p:nvSpPr>
          <p:spPr>
            <a:xfrm>
              <a:off x="6955484" y="4280160"/>
              <a:ext cx="359798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4977">
                <a:lnSpc>
                  <a:spcPct val="90000"/>
                </a:lnSpc>
                <a:defRPr sz="700"/>
              </a:lvl1pPr>
            </a:lstStyle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</a:t>
              </a:r>
            </a:p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fig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40E7FDC0-F1C2-4BB5-A33B-FEF591F5FD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1165" y="3948140"/>
              <a:ext cx="1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9688480-ED87-4B3C-BE64-DEF517B1F24E}"/>
              </a:ext>
            </a:extLst>
          </p:cNvPr>
          <p:cNvGrpSpPr/>
          <p:nvPr/>
        </p:nvGrpSpPr>
        <p:grpSpPr>
          <a:xfrm>
            <a:off x="304975" y="2320618"/>
            <a:ext cx="11887025" cy="1316736"/>
            <a:chOff x="304975" y="2320618"/>
            <a:chExt cx="11887025" cy="1316736"/>
          </a:xfrm>
        </p:grpSpPr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6628E60E-A45F-48E0-A02D-12B3958AD80D}"/>
                </a:ext>
              </a:extLst>
            </p:cNvPr>
            <p:cNvSpPr/>
            <p:nvPr/>
          </p:nvSpPr>
          <p:spPr bwMode="auto">
            <a:xfrm>
              <a:off x="1402080" y="2320618"/>
              <a:ext cx="10789920" cy="13167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3F0BD1C-C95D-40D6-8FC1-DF86F30B76CA}"/>
                </a:ext>
              </a:extLst>
            </p:cNvPr>
            <p:cNvGrpSpPr/>
            <p:nvPr/>
          </p:nvGrpSpPr>
          <p:grpSpPr>
            <a:xfrm>
              <a:off x="5442812" y="3049675"/>
              <a:ext cx="397545" cy="448125"/>
              <a:chOff x="3477967" y="2999944"/>
              <a:chExt cx="397545" cy="448125"/>
            </a:xfrm>
          </p:grpSpPr>
          <p:sp>
            <p:nvSpPr>
              <p:cNvPr id="679" name="TextBox 678">
                <a:extLst>
                  <a:ext uri="{FF2B5EF4-FFF2-40B4-BE49-F238E27FC236}">
                    <a16:creationId xmlns:a16="http://schemas.microsoft.com/office/drawing/2014/main" id="{751AF0FD-75F5-4A5F-BCD2-CCD63FB8EFAF}"/>
                  </a:ext>
                </a:extLst>
              </p:cNvPr>
              <p:cNvSpPr txBox="1"/>
              <p:nvPr/>
            </p:nvSpPr>
            <p:spPr>
              <a:xfrm>
                <a:off x="3477967" y="3254170"/>
                <a:ext cx="397545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Blueprint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11" name="Graphic 210">
                <a:extLst>
                  <a:ext uri="{FF2B5EF4-FFF2-40B4-BE49-F238E27FC236}">
                    <a16:creationId xmlns:a16="http://schemas.microsoft.com/office/drawing/2014/main" id="{84BB5F6B-4F00-4596-BC77-0470A0D436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6">
                <a:extLst>
                  <a:ext uri="{96DAC541-7B7A-43D3-8B79-37D633B846F1}">
                    <asvg:svgBlip xmlns:asvg="http://schemas.microsoft.com/office/drawing/2016/SVG/main" r:embed="rId87"/>
                  </a:ext>
                </a:extLst>
              </a:blip>
              <a:stretch>
                <a:fillRect/>
              </a:stretch>
            </p:blipFill>
            <p:spPr>
              <a:xfrm>
                <a:off x="3549921" y="2999944"/>
                <a:ext cx="210806" cy="210805"/>
              </a:xfrm>
              <a:prstGeom prst="rect">
                <a:avLst/>
              </a:prstGeom>
            </p:spPr>
          </p:pic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FCA5A0-6EAC-41FC-831E-810DD7B12FC9}"/>
                </a:ext>
              </a:extLst>
            </p:cNvPr>
            <p:cNvGrpSpPr/>
            <p:nvPr/>
          </p:nvGrpSpPr>
          <p:grpSpPr>
            <a:xfrm>
              <a:off x="6267850" y="3041644"/>
              <a:ext cx="360676" cy="553106"/>
              <a:chOff x="3956295" y="2991913"/>
              <a:chExt cx="360676" cy="553106"/>
            </a:xfrm>
          </p:grpSpPr>
          <p:sp>
            <p:nvSpPr>
              <p:cNvPr id="682" name="TextBox 681">
                <a:extLst>
                  <a:ext uri="{FF2B5EF4-FFF2-40B4-BE49-F238E27FC236}">
                    <a16:creationId xmlns:a16="http://schemas.microsoft.com/office/drawing/2014/main" id="{DC63F4A5-F1F9-416A-A471-FD7BDE2691C3}"/>
                  </a:ext>
                </a:extLst>
              </p:cNvPr>
              <p:cNvSpPr txBox="1"/>
              <p:nvPr/>
            </p:nvSpPr>
            <p:spPr>
              <a:xfrm>
                <a:off x="3956295" y="3254170"/>
                <a:ext cx="360676" cy="2908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Resourc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8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Graph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12" name="Graphic 211">
                <a:extLst>
                  <a:ext uri="{FF2B5EF4-FFF2-40B4-BE49-F238E27FC236}">
                    <a16:creationId xmlns:a16="http://schemas.microsoft.com/office/drawing/2014/main" id="{7D6BAFF2-F493-4AAD-A7C3-4B30C4A476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9">
                <a:extLst>
                  <a:ext uri="{96DAC541-7B7A-43D3-8B79-37D633B846F1}">
                    <asvg:svgBlip xmlns:asvg="http://schemas.microsoft.com/office/drawing/2016/SVG/main" r:embed="rId90"/>
                  </a:ext>
                </a:extLst>
              </a:blip>
              <a:stretch>
                <a:fillRect/>
              </a:stretch>
            </p:blipFill>
            <p:spPr>
              <a:xfrm>
                <a:off x="4017277" y="2991913"/>
                <a:ext cx="226868" cy="226867"/>
              </a:xfrm>
              <a:prstGeom prst="rect">
                <a:avLst/>
              </a:prstGeom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D706342-049D-4871-9977-0E17184F2526}"/>
                </a:ext>
              </a:extLst>
            </p:cNvPr>
            <p:cNvGrpSpPr/>
            <p:nvPr/>
          </p:nvGrpSpPr>
          <p:grpSpPr>
            <a:xfrm>
              <a:off x="9771583" y="3041571"/>
              <a:ext cx="245259" cy="359280"/>
              <a:chOff x="6080348" y="2991840"/>
              <a:chExt cx="245259" cy="359280"/>
            </a:xfrm>
          </p:grpSpPr>
          <p:sp>
            <p:nvSpPr>
              <p:cNvPr id="694" name="TextBox 693">
                <a:extLst>
                  <a:ext uri="{FF2B5EF4-FFF2-40B4-BE49-F238E27FC236}">
                    <a16:creationId xmlns:a16="http://schemas.microsoft.com/office/drawing/2014/main" id="{EECF0CB1-59DA-4212-9618-06DA8090891E}"/>
                  </a:ext>
                </a:extLst>
              </p:cNvPr>
              <p:cNvSpPr txBox="1"/>
              <p:nvPr/>
            </p:nvSpPr>
            <p:spPr>
              <a:xfrm>
                <a:off x="6080348" y="3254170"/>
                <a:ext cx="245259" cy="969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Billing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13" name="Graphic 212">
                <a:extLst>
                  <a:ext uri="{FF2B5EF4-FFF2-40B4-BE49-F238E27FC236}">
                    <a16:creationId xmlns:a16="http://schemas.microsoft.com/office/drawing/2014/main" id="{7BEDACE0-C490-4C5E-B127-EB133487AC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>
                <a:extLst>
                  <a:ext uri="{96DAC541-7B7A-43D3-8B79-37D633B846F1}">
                    <asvg:svgBlip xmlns:asvg="http://schemas.microsoft.com/office/drawing/2016/SVG/main" r:embed="rId93"/>
                  </a:ext>
                </a:extLst>
              </a:blip>
              <a:stretch>
                <a:fillRect/>
              </a:stretch>
            </p:blipFill>
            <p:spPr>
              <a:xfrm>
                <a:off x="6085398" y="2991840"/>
                <a:ext cx="227014" cy="227013"/>
              </a:xfrm>
              <a:prstGeom prst="rect">
                <a:avLst/>
              </a:prstGeom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0B0D802-9115-46F1-BA8D-60111CEA360A}"/>
                </a:ext>
              </a:extLst>
            </p:cNvPr>
            <p:cNvGrpSpPr/>
            <p:nvPr/>
          </p:nvGrpSpPr>
          <p:grpSpPr>
            <a:xfrm>
              <a:off x="9036313" y="3042331"/>
              <a:ext cx="307777" cy="452985"/>
              <a:chOff x="5684628" y="2992600"/>
              <a:chExt cx="307777" cy="452985"/>
            </a:xfrm>
          </p:grpSpPr>
          <p:sp>
            <p:nvSpPr>
              <p:cNvPr id="691" name="TextBox 690">
                <a:extLst>
                  <a:ext uri="{FF2B5EF4-FFF2-40B4-BE49-F238E27FC236}">
                    <a16:creationId xmlns:a16="http://schemas.microsoft.com/office/drawing/2014/main" id="{365254E3-DC22-49D5-B219-0196969126FD}"/>
                  </a:ext>
                </a:extLst>
              </p:cNvPr>
              <p:cNvSpPr txBox="1"/>
              <p:nvPr/>
            </p:nvSpPr>
            <p:spPr>
              <a:xfrm>
                <a:off x="5684628" y="3251686"/>
                <a:ext cx="307777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igrat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14" name="Graphic 213">
                <a:extLst>
                  <a:ext uri="{FF2B5EF4-FFF2-40B4-BE49-F238E27FC236}">
                    <a16:creationId xmlns:a16="http://schemas.microsoft.com/office/drawing/2014/main" id="{E7ED388A-81F3-4A10-B4F3-124BE913BA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6">
                <a:extLst>
                  <a:ext uri="{96DAC541-7B7A-43D3-8B79-37D633B846F1}">
                    <asvg:svgBlip xmlns:asvg="http://schemas.microsoft.com/office/drawing/2016/SVG/main" r:embed="rId67"/>
                  </a:ext>
                </a:extLst>
              </a:blip>
              <a:stretch>
                <a:fillRect/>
              </a:stretch>
            </p:blipFill>
            <p:spPr>
              <a:xfrm>
                <a:off x="5715305" y="2992600"/>
                <a:ext cx="225493" cy="225493"/>
              </a:xfrm>
              <a:prstGeom prst="rect">
                <a:avLst/>
              </a:prstGeom>
            </p:spPr>
          </p:pic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9E75583-4126-4935-AFB7-115970DA381E}"/>
                </a:ext>
              </a:extLst>
            </p:cNvPr>
            <p:cNvGrpSpPr/>
            <p:nvPr/>
          </p:nvGrpSpPr>
          <p:grpSpPr>
            <a:xfrm>
              <a:off x="4782884" y="3056253"/>
              <a:ext cx="232435" cy="441547"/>
              <a:chOff x="3151181" y="3006522"/>
              <a:chExt cx="232435" cy="441547"/>
            </a:xfrm>
          </p:grpSpPr>
          <p:sp>
            <p:nvSpPr>
              <p:cNvPr id="676" name="TextBox 675">
                <a:extLst>
                  <a:ext uri="{FF2B5EF4-FFF2-40B4-BE49-F238E27FC236}">
                    <a16:creationId xmlns:a16="http://schemas.microsoft.com/office/drawing/2014/main" id="{B5EA11B3-96C0-4EF7-9103-FD66AD004F3F}"/>
                  </a:ext>
                </a:extLst>
              </p:cNvPr>
              <p:cNvSpPr txBox="1"/>
              <p:nvPr/>
            </p:nvSpPr>
            <p:spPr>
              <a:xfrm>
                <a:off x="3151181" y="3254170"/>
                <a:ext cx="232435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licy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24" name="Graphic 223">
                <a:extLst>
                  <a:ext uri="{FF2B5EF4-FFF2-40B4-BE49-F238E27FC236}">
                    <a16:creationId xmlns:a16="http://schemas.microsoft.com/office/drawing/2014/main" id="{82163292-9C65-494C-B973-6E56323873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6">
                <a:extLst>
                  <a:ext uri="{96DAC541-7B7A-43D3-8B79-37D633B846F1}">
                    <asvg:svgBlip xmlns:asvg="http://schemas.microsoft.com/office/drawing/2016/SVG/main" r:embed="rId97"/>
                  </a:ext>
                </a:extLst>
              </a:blip>
              <a:stretch>
                <a:fillRect/>
              </a:stretch>
            </p:blipFill>
            <p:spPr>
              <a:xfrm>
                <a:off x="3169710" y="3006522"/>
                <a:ext cx="197650" cy="197649"/>
              </a:xfrm>
              <a:prstGeom prst="rect">
                <a:avLst/>
              </a:prstGeom>
            </p:spPr>
          </p:pic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9DD0007-E64B-4340-99E5-8F2ABE21253C}"/>
                </a:ext>
              </a:extLst>
            </p:cNvPr>
            <p:cNvGrpSpPr/>
            <p:nvPr/>
          </p:nvGrpSpPr>
          <p:grpSpPr>
            <a:xfrm>
              <a:off x="4353249" y="2389481"/>
              <a:ext cx="298159" cy="459389"/>
              <a:chOff x="2797165" y="2339750"/>
              <a:chExt cx="298159" cy="459389"/>
            </a:xfrm>
          </p:grpSpPr>
          <p:sp>
            <p:nvSpPr>
              <p:cNvPr id="637" name="TextBox 636">
                <a:extLst>
                  <a:ext uri="{FF2B5EF4-FFF2-40B4-BE49-F238E27FC236}">
                    <a16:creationId xmlns:a16="http://schemas.microsoft.com/office/drawing/2014/main" id="{F2DDF418-91DF-4E6F-9DD1-1B1F8374203B}"/>
                  </a:ext>
                </a:extLst>
              </p:cNvPr>
              <p:cNvSpPr txBox="1"/>
              <p:nvPr/>
            </p:nvSpPr>
            <p:spPr>
              <a:xfrm>
                <a:off x="2797165" y="2605240"/>
                <a:ext cx="298159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9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dviso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25" name="Graphic 224">
                <a:extLst>
                  <a:ext uri="{FF2B5EF4-FFF2-40B4-BE49-F238E27FC236}">
                    <a16:creationId xmlns:a16="http://schemas.microsoft.com/office/drawing/2014/main" id="{FB8C3221-4F16-4926-9174-F1CB2C0636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9">
                <a:extLst>
                  <a:ext uri="{96DAC541-7B7A-43D3-8B79-37D633B846F1}">
                    <asvg:svgBlip xmlns:asvg="http://schemas.microsoft.com/office/drawing/2016/SVG/main" r:embed="rId100"/>
                  </a:ext>
                </a:extLst>
              </a:blip>
              <a:stretch>
                <a:fillRect/>
              </a:stretch>
            </p:blipFill>
            <p:spPr>
              <a:xfrm>
                <a:off x="2823908" y="2339750"/>
                <a:ext cx="233334" cy="233333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C358EE0-6D34-4669-8A49-366B57151E01}"/>
                </a:ext>
              </a:extLst>
            </p:cNvPr>
            <p:cNvGrpSpPr/>
            <p:nvPr/>
          </p:nvGrpSpPr>
          <p:grpSpPr>
            <a:xfrm>
              <a:off x="6059463" y="2392619"/>
              <a:ext cx="471284" cy="359302"/>
              <a:chOff x="3648023" y="2342888"/>
              <a:chExt cx="471284" cy="359302"/>
            </a:xfrm>
          </p:grpSpPr>
          <p:sp>
            <p:nvSpPr>
              <p:cNvPr id="643" name="TextBox 642">
                <a:extLst>
                  <a:ext uri="{FF2B5EF4-FFF2-40B4-BE49-F238E27FC236}">
                    <a16:creationId xmlns:a16="http://schemas.microsoft.com/office/drawing/2014/main" id="{64FA24C4-A093-424C-92A6-07B5F499CF4E}"/>
                  </a:ext>
                </a:extLst>
              </p:cNvPr>
              <p:cNvSpPr txBox="1"/>
              <p:nvPr/>
            </p:nvSpPr>
            <p:spPr>
              <a:xfrm>
                <a:off x="3648023" y="2605240"/>
                <a:ext cx="471284" cy="969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utomation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26" name="Graphic 225">
                <a:extLst>
                  <a:ext uri="{FF2B5EF4-FFF2-40B4-BE49-F238E27FC236}">
                    <a16:creationId xmlns:a16="http://schemas.microsoft.com/office/drawing/2014/main" id="{99831B98-509D-4EDB-8D4D-567B52D8D4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2">
                <a:extLst>
                  <a:ext uri="{96DAC541-7B7A-43D3-8B79-37D633B846F1}">
                    <asvg:svgBlip xmlns:asvg="http://schemas.microsoft.com/office/drawing/2016/SVG/main" r:embed="rId103"/>
                  </a:ext>
                </a:extLst>
              </a:blip>
              <a:stretch>
                <a:fillRect/>
              </a:stretch>
            </p:blipFill>
            <p:spPr>
              <a:xfrm>
                <a:off x="3782237" y="2342888"/>
                <a:ext cx="227058" cy="227057"/>
              </a:xfrm>
              <a:prstGeom prst="rect">
                <a:avLst/>
              </a:prstGeom>
            </p:spPr>
          </p:pic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EC4003D-81FE-4E3E-9B96-2B758354057C}"/>
                </a:ext>
              </a:extLst>
            </p:cNvPr>
            <p:cNvGrpSpPr/>
            <p:nvPr/>
          </p:nvGrpSpPr>
          <p:grpSpPr>
            <a:xfrm>
              <a:off x="8759849" y="2405028"/>
              <a:ext cx="320601" cy="443842"/>
              <a:chOff x="5065375" y="2355297"/>
              <a:chExt cx="320601" cy="443842"/>
            </a:xfrm>
          </p:grpSpPr>
          <p:sp>
            <p:nvSpPr>
              <p:cNvPr id="652" name="TextBox 651">
                <a:extLst>
                  <a:ext uri="{FF2B5EF4-FFF2-40B4-BE49-F238E27FC236}">
                    <a16:creationId xmlns:a16="http://schemas.microsoft.com/office/drawing/2014/main" id="{37A0D129-6F1F-45F0-B0F0-77D54203D64D}"/>
                  </a:ext>
                </a:extLst>
              </p:cNvPr>
              <p:cNvSpPr txBox="1"/>
              <p:nvPr/>
            </p:nvSpPr>
            <p:spPr>
              <a:xfrm>
                <a:off x="5065375" y="2605240"/>
                <a:ext cx="32060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onito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27" name="Graphic 226">
                <a:extLst>
                  <a:ext uri="{FF2B5EF4-FFF2-40B4-BE49-F238E27FC236}">
                    <a16:creationId xmlns:a16="http://schemas.microsoft.com/office/drawing/2014/main" id="{D8A1C66E-A08C-4574-A35E-1794392EDF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5">
                <a:extLst>
                  <a:ext uri="{96DAC541-7B7A-43D3-8B79-37D633B846F1}">
                    <asvg:svgBlip xmlns:asvg="http://schemas.microsoft.com/office/drawing/2016/SVG/main" r:embed="rId106"/>
                  </a:ext>
                </a:extLst>
              </a:blip>
              <a:stretch>
                <a:fillRect/>
              </a:stretch>
            </p:blipFill>
            <p:spPr>
              <a:xfrm>
                <a:off x="5130140" y="2355297"/>
                <a:ext cx="202240" cy="202239"/>
              </a:xfrm>
              <a:prstGeom prst="rect">
                <a:avLst/>
              </a:prstGeom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E7FBD59-F19F-4763-9A59-8C2D4EAFCDEF}"/>
                </a:ext>
              </a:extLst>
            </p:cNvPr>
            <p:cNvGrpSpPr/>
            <p:nvPr/>
          </p:nvGrpSpPr>
          <p:grpSpPr>
            <a:xfrm>
              <a:off x="10565449" y="2405612"/>
              <a:ext cx="336631" cy="443258"/>
              <a:chOff x="6015619" y="2355881"/>
              <a:chExt cx="336631" cy="443258"/>
            </a:xfrm>
          </p:grpSpPr>
          <p:sp>
            <p:nvSpPr>
              <p:cNvPr id="658" name="TextBox 657">
                <a:extLst>
                  <a:ext uri="{FF2B5EF4-FFF2-40B4-BE49-F238E27FC236}">
                    <a16:creationId xmlns:a16="http://schemas.microsoft.com/office/drawing/2014/main" id="{E3B8D889-0BD1-4AAD-9B82-1E28141ADBDA}"/>
                  </a:ext>
                </a:extLst>
              </p:cNvPr>
              <p:cNvSpPr txBox="1"/>
              <p:nvPr/>
            </p:nvSpPr>
            <p:spPr>
              <a:xfrm>
                <a:off x="6015619" y="2605240"/>
                <a:ext cx="33663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Network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0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Watche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28" name="Graphic 227">
                <a:extLst>
                  <a:ext uri="{FF2B5EF4-FFF2-40B4-BE49-F238E27FC236}">
                    <a16:creationId xmlns:a16="http://schemas.microsoft.com/office/drawing/2014/main" id="{CDFB9D24-5B24-43E1-84EC-C8ACF3A3A6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8">
                <a:extLst>
                  <a:ext uri="{96DAC541-7B7A-43D3-8B79-37D633B846F1}">
                    <asvg:svgBlip xmlns:asvg="http://schemas.microsoft.com/office/drawing/2016/SVG/main" r:embed="rId109"/>
                  </a:ext>
                </a:extLst>
              </a:blip>
              <a:stretch>
                <a:fillRect/>
              </a:stretch>
            </p:blipFill>
            <p:spPr>
              <a:xfrm>
                <a:off x="6087315" y="2355881"/>
                <a:ext cx="201072" cy="201071"/>
              </a:xfrm>
              <a:prstGeom prst="rect">
                <a:avLst/>
              </a:prstGeom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9CA82F9-9163-4525-9C51-DDB8120498A9}"/>
                </a:ext>
              </a:extLst>
            </p:cNvPr>
            <p:cNvGrpSpPr/>
            <p:nvPr/>
          </p:nvGrpSpPr>
          <p:grpSpPr>
            <a:xfrm>
              <a:off x="5159869" y="2411317"/>
              <a:ext cx="391133" cy="340604"/>
              <a:chOff x="3176107" y="2361586"/>
              <a:chExt cx="391133" cy="340604"/>
            </a:xfrm>
          </p:grpSpPr>
          <p:sp>
            <p:nvSpPr>
              <p:cNvPr id="640" name="TextBox 639">
                <a:extLst>
                  <a:ext uri="{FF2B5EF4-FFF2-40B4-BE49-F238E27FC236}">
                    <a16:creationId xmlns:a16="http://schemas.microsoft.com/office/drawing/2014/main" id="{03F24524-74E2-4582-BB12-B703E6771E70}"/>
                  </a:ext>
                </a:extLst>
              </p:cNvPr>
              <p:cNvSpPr txBox="1"/>
              <p:nvPr/>
            </p:nvSpPr>
            <p:spPr>
              <a:xfrm>
                <a:off x="3176107" y="2605240"/>
                <a:ext cx="391133" cy="969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chedule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BA332AB7-92E2-49C4-B7ED-52CED3A80698}"/>
                  </a:ext>
                </a:extLst>
              </p:cNvPr>
              <p:cNvGrpSpPr/>
              <p:nvPr/>
            </p:nvGrpSpPr>
            <p:grpSpPr>
              <a:xfrm>
                <a:off x="3294296" y="2361586"/>
                <a:ext cx="159406" cy="189661"/>
                <a:chOff x="3384354" y="2361586"/>
                <a:chExt cx="159406" cy="189661"/>
              </a:xfrm>
            </p:grpSpPr>
            <p:sp>
              <p:nvSpPr>
                <p:cNvPr id="3" name="Freeform: Shape 2">
                  <a:extLst>
                    <a:ext uri="{FF2B5EF4-FFF2-40B4-BE49-F238E27FC236}">
                      <a16:creationId xmlns:a16="http://schemas.microsoft.com/office/drawing/2014/main" id="{C61C771B-5C34-4CFC-8300-E007A8E0CEDE}"/>
                    </a:ext>
                  </a:extLst>
                </p:cNvPr>
                <p:cNvSpPr/>
                <p:nvPr/>
              </p:nvSpPr>
              <p:spPr>
                <a:xfrm>
                  <a:off x="3426115" y="2385068"/>
                  <a:ext cx="108378" cy="108378"/>
                </a:xfrm>
                <a:custGeom>
                  <a:avLst/>
                  <a:gdLst>
                    <a:gd name="connsiteX0" fmla="*/ 60638 w 131673"/>
                    <a:gd name="connsiteY0" fmla="*/ 549 h 131673"/>
                    <a:gd name="connsiteX1" fmla="*/ 15101 w 131673"/>
                    <a:gd name="connsiteY1" fmla="*/ 25237 h 131673"/>
                    <a:gd name="connsiteX2" fmla="*/ 287 w 131673"/>
                    <a:gd name="connsiteY2" fmla="*/ 74615 h 131673"/>
                    <a:gd name="connsiteX3" fmla="*/ 24976 w 131673"/>
                    <a:gd name="connsiteY3" fmla="*/ 120152 h 131673"/>
                    <a:gd name="connsiteX4" fmla="*/ 74354 w 131673"/>
                    <a:gd name="connsiteY4" fmla="*/ 134965 h 131673"/>
                    <a:gd name="connsiteX5" fmla="*/ 119891 w 131673"/>
                    <a:gd name="connsiteY5" fmla="*/ 110277 h 131673"/>
                    <a:gd name="connsiteX6" fmla="*/ 134704 w 131673"/>
                    <a:gd name="connsiteY6" fmla="*/ 60899 h 131673"/>
                    <a:gd name="connsiteX7" fmla="*/ 109467 w 131673"/>
                    <a:gd name="connsiteY7" fmla="*/ 14813 h 131673"/>
                    <a:gd name="connsiteX8" fmla="*/ 67770 w 131673"/>
                    <a:gd name="connsiteY8" fmla="*/ 0 h 131673"/>
                    <a:gd name="connsiteX9" fmla="*/ 60638 w 131673"/>
                    <a:gd name="connsiteY9" fmla="*/ 549 h 1316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1673" h="131673">
                      <a:moveTo>
                        <a:pt x="60638" y="549"/>
                      </a:moveTo>
                      <a:cubicBezTo>
                        <a:pt x="41984" y="2743"/>
                        <a:pt x="26074" y="11521"/>
                        <a:pt x="15101" y="25237"/>
                      </a:cubicBezTo>
                      <a:cubicBezTo>
                        <a:pt x="4128" y="38953"/>
                        <a:pt x="-1358" y="56510"/>
                        <a:pt x="287" y="74615"/>
                      </a:cubicBezTo>
                      <a:cubicBezTo>
                        <a:pt x="2482" y="93269"/>
                        <a:pt x="11260" y="109179"/>
                        <a:pt x="24976" y="120152"/>
                      </a:cubicBezTo>
                      <a:cubicBezTo>
                        <a:pt x="38692" y="131125"/>
                        <a:pt x="56249" y="136611"/>
                        <a:pt x="74354" y="134965"/>
                      </a:cubicBezTo>
                      <a:cubicBezTo>
                        <a:pt x="93008" y="132771"/>
                        <a:pt x="108918" y="123444"/>
                        <a:pt x="119891" y="110277"/>
                      </a:cubicBezTo>
                      <a:cubicBezTo>
                        <a:pt x="130864" y="96561"/>
                        <a:pt x="136350" y="79004"/>
                        <a:pt x="134704" y="60899"/>
                      </a:cubicBezTo>
                      <a:cubicBezTo>
                        <a:pt x="132510" y="42245"/>
                        <a:pt x="123183" y="26335"/>
                        <a:pt x="109467" y="14813"/>
                      </a:cubicBezTo>
                      <a:cubicBezTo>
                        <a:pt x="97945" y="5486"/>
                        <a:pt x="83132" y="0"/>
                        <a:pt x="67770" y="0"/>
                      </a:cubicBezTo>
                      <a:cubicBezTo>
                        <a:pt x="65576" y="0"/>
                        <a:pt x="63381" y="0"/>
                        <a:pt x="60638" y="549"/>
                      </a:cubicBezTo>
                    </a:path>
                  </a:pathLst>
                </a:custGeom>
                <a:solidFill>
                  <a:srgbClr val="FFFFFF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" name="Freeform: Shape 3">
                  <a:extLst>
                    <a:ext uri="{FF2B5EF4-FFF2-40B4-BE49-F238E27FC236}">
                      <a16:creationId xmlns:a16="http://schemas.microsoft.com/office/drawing/2014/main" id="{CC1AD4B5-3798-4A11-ABFB-3FE745155A5A}"/>
                    </a:ext>
                  </a:extLst>
                </p:cNvPr>
                <p:cNvSpPr/>
                <p:nvPr/>
              </p:nvSpPr>
              <p:spPr>
                <a:xfrm>
                  <a:off x="3453445" y="2384165"/>
                  <a:ext cx="90315" cy="117409"/>
                </a:xfrm>
                <a:custGeom>
                  <a:avLst/>
                  <a:gdLst>
                    <a:gd name="connsiteX0" fmla="*/ 111923 w 109728"/>
                    <a:gd name="connsiteY0" fmla="*/ 60350 h 142646"/>
                    <a:gd name="connsiteX1" fmla="*/ 82296 w 109728"/>
                    <a:gd name="connsiteY1" fmla="*/ 6584 h 142646"/>
                    <a:gd name="connsiteX2" fmla="*/ 72420 w 109728"/>
                    <a:gd name="connsiteY2" fmla="*/ 0 h 142646"/>
                    <a:gd name="connsiteX3" fmla="*/ 66385 w 109728"/>
                    <a:gd name="connsiteY3" fmla="*/ 12070 h 142646"/>
                    <a:gd name="connsiteX4" fmla="*/ 74066 w 109728"/>
                    <a:gd name="connsiteY4" fmla="*/ 17008 h 142646"/>
                    <a:gd name="connsiteX5" fmla="*/ 98755 w 109728"/>
                    <a:gd name="connsiteY5" fmla="*/ 61448 h 142646"/>
                    <a:gd name="connsiteX6" fmla="*/ 84491 w 109728"/>
                    <a:gd name="connsiteY6" fmla="*/ 109728 h 142646"/>
                    <a:gd name="connsiteX7" fmla="*/ 40051 w 109728"/>
                    <a:gd name="connsiteY7" fmla="*/ 133868 h 142646"/>
                    <a:gd name="connsiteX8" fmla="*/ 6035 w 109728"/>
                    <a:gd name="connsiteY8" fmla="*/ 128382 h 142646"/>
                    <a:gd name="connsiteX9" fmla="*/ 0 w 109728"/>
                    <a:gd name="connsiteY9" fmla="*/ 140452 h 142646"/>
                    <a:gd name="connsiteX10" fmla="*/ 41697 w 109728"/>
                    <a:gd name="connsiteY10" fmla="*/ 147584 h 142646"/>
                    <a:gd name="connsiteX11" fmla="*/ 94915 w 109728"/>
                    <a:gd name="connsiteY11" fmla="*/ 118506 h 142646"/>
                    <a:gd name="connsiteX12" fmla="*/ 111923 w 109728"/>
                    <a:gd name="connsiteY12" fmla="*/ 60350 h 14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09728" h="142646">
                      <a:moveTo>
                        <a:pt x="111923" y="60350"/>
                      </a:moveTo>
                      <a:cubicBezTo>
                        <a:pt x="109728" y="38405"/>
                        <a:pt x="98207" y="19202"/>
                        <a:pt x="82296" y="6584"/>
                      </a:cubicBezTo>
                      <a:cubicBezTo>
                        <a:pt x="79004" y="3840"/>
                        <a:pt x="75712" y="1646"/>
                        <a:pt x="72420" y="0"/>
                      </a:cubicBezTo>
                      <a:lnTo>
                        <a:pt x="66385" y="12070"/>
                      </a:lnTo>
                      <a:cubicBezTo>
                        <a:pt x="69129" y="13716"/>
                        <a:pt x="71323" y="15362"/>
                        <a:pt x="74066" y="17008"/>
                      </a:cubicBezTo>
                      <a:cubicBezTo>
                        <a:pt x="87234" y="27981"/>
                        <a:pt x="96561" y="43343"/>
                        <a:pt x="98755" y="61448"/>
                      </a:cubicBezTo>
                      <a:cubicBezTo>
                        <a:pt x="100401" y="79553"/>
                        <a:pt x="94915" y="96561"/>
                        <a:pt x="84491" y="109728"/>
                      </a:cubicBezTo>
                      <a:cubicBezTo>
                        <a:pt x="74066" y="122895"/>
                        <a:pt x="58156" y="131674"/>
                        <a:pt x="40051" y="133868"/>
                      </a:cubicBezTo>
                      <a:cubicBezTo>
                        <a:pt x="27981" y="134965"/>
                        <a:pt x="16459" y="132771"/>
                        <a:pt x="6035" y="128382"/>
                      </a:cubicBezTo>
                      <a:lnTo>
                        <a:pt x="0" y="140452"/>
                      </a:lnTo>
                      <a:cubicBezTo>
                        <a:pt x="12619" y="146487"/>
                        <a:pt x="26883" y="149230"/>
                        <a:pt x="41697" y="147584"/>
                      </a:cubicBezTo>
                      <a:cubicBezTo>
                        <a:pt x="63642" y="145390"/>
                        <a:pt x="82296" y="134417"/>
                        <a:pt x="94915" y="118506"/>
                      </a:cubicBezTo>
                      <a:cubicBezTo>
                        <a:pt x="107533" y="103144"/>
                        <a:pt x="114117" y="82296"/>
                        <a:pt x="111923" y="60350"/>
                      </a:cubicBezTo>
                    </a:path>
                  </a:pathLst>
                </a:custGeom>
                <a:solidFill>
                  <a:srgbClr val="3999C6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" name="Freeform: Shape 4">
                  <a:extLst>
                    <a:ext uri="{FF2B5EF4-FFF2-40B4-BE49-F238E27FC236}">
                      <a16:creationId xmlns:a16="http://schemas.microsoft.com/office/drawing/2014/main" id="{D4BA1567-6F91-4BF0-B8AE-A21218345445}"/>
                    </a:ext>
                  </a:extLst>
                </p:cNvPr>
                <p:cNvSpPr/>
                <p:nvPr/>
              </p:nvSpPr>
              <p:spPr>
                <a:xfrm>
                  <a:off x="3415484" y="2375277"/>
                  <a:ext cx="94830" cy="121925"/>
                </a:xfrm>
                <a:custGeom>
                  <a:avLst/>
                  <a:gdLst>
                    <a:gd name="connsiteX0" fmla="*/ 37891 w 115214"/>
                    <a:gd name="connsiteY0" fmla="*/ 130950 h 148132"/>
                    <a:gd name="connsiteX1" fmla="*/ 13751 w 115214"/>
                    <a:gd name="connsiteY1" fmla="*/ 86511 h 148132"/>
                    <a:gd name="connsiteX2" fmla="*/ 28016 w 115214"/>
                    <a:gd name="connsiteY2" fmla="*/ 38230 h 148132"/>
                    <a:gd name="connsiteX3" fmla="*/ 72456 w 115214"/>
                    <a:gd name="connsiteY3" fmla="*/ 14090 h 148132"/>
                    <a:gd name="connsiteX4" fmla="*/ 112506 w 115214"/>
                    <a:gd name="connsiteY4" fmla="*/ 22868 h 148132"/>
                    <a:gd name="connsiteX5" fmla="*/ 118541 w 115214"/>
                    <a:gd name="connsiteY5" fmla="*/ 10798 h 148132"/>
                    <a:gd name="connsiteX6" fmla="*/ 70810 w 115214"/>
                    <a:gd name="connsiteY6" fmla="*/ 374 h 148132"/>
                    <a:gd name="connsiteX7" fmla="*/ 17592 w 115214"/>
                    <a:gd name="connsiteY7" fmla="*/ 29452 h 148132"/>
                    <a:gd name="connsiteX8" fmla="*/ 17592 w 115214"/>
                    <a:gd name="connsiteY8" fmla="*/ 29452 h 148132"/>
                    <a:gd name="connsiteX9" fmla="*/ 584 w 115214"/>
                    <a:gd name="connsiteY9" fmla="*/ 87608 h 148132"/>
                    <a:gd name="connsiteX10" fmla="*/ 29662 w 115214"/>
                    <a:gd name="connsiteY10" fmla="*/ 140826 h 148132"/>
                    <a:gd name="connsiteX11" fmla="*/ 46121 w 115214"/>
                    <a:gd name="connsiteY11" fmla="*/ 151250 h 148132"/>
                    <a:gd name="connsiteX12" fmla="*/ 52156 w 115214"/>
                    <a:gd name="connsiteY12" fmla="*/ 139180 h 148132"/>
                    <a:gd name="connsiteX13" fmla="*/ 37891 w 115214"/>
                    <a:gd name="connsiteY13" fmla="*/ 130950 h 148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15214" h="148132">
                      <a:moveTo>
                        <a:pt x="37891" y="130950"/>
                      </a:moveTo>
                      <a:cubicBezTo>
                        <a:pt x="24724" y="120526"/>
                        <a:pt x="15946" y="104616"/>
                        <a:pt x="13751" y="86511"/>
                      </a:cubicBezTo>
                      <a:cubicBezTo>
                        <a:pt x="12105" y="68405"/>
                        <a:pt x="17592" y="51398"/>
                        <a:pt x="28016" y="38230"/>
                      </a:cubicBezTo>
                      <a:cubicBezTo>
                        <a:pt x="38440" y="25063"/>
                        <a:pt x="54351" y="16285"/>
                        <a:pt x="72456" y="14090"/>
                      </a:cubicBezTo>
                      <a:cubicBezTo>
                        <a:pt x="87269" y="12444"/>
                        <a:pt x="100985" y="15736"/>
                        <a:pt x="112506" y="22868"/>
                      </a:cubicBezTo>
                      <a:lnTo>
                        <a:pt x="118541" y="10798"/>
                      </a:lnTo>
                      <a:cubicBezTo>
                        <a:pt x="104277" y="2569"/>
                        <a:pt x="87818" y="-1272"/>
                        <a:pt x="70810" y="374"/>
                      </a:cubicBezTo>
                      <a:cubicBezTo>
                        <a:pt x="48864" y="2569"/>
                        <a:pt x="30210" y="13541"/>
                        <a:pt x="17592" y="29452"/>
                      </a:cubicBezTo>
                      <a:lnTo>
                        <a:pt x="17592" y="29452"/>
                      </a:lnTo>
                      <a:cubicBezTo>
                        <a:pt x="4973" y="45363"/>
                        <a:pt x="-2159" y="65662"/>
                        <a:pt x="584" y="87608"/>
                      </a:cubicBezTo>
                      <a:cubicBezTo>
                        <a:pt x="2778" y="109553"/>
                        <a:pt x="13751" y="128207"/>
                        <a:pt x="29662" y="140826"/>
                      </a:cubicBezTo>
                      <a:cubicBezTo>
                        <a:pt x="34600" y="144666"/>
                        <a:pt x="40086" y="148507"/>
                        <a:pt x="46121" y="151250"/>
                      </a:cubicBezTo>
                      <a:lnTo>
                        <a:pt x="52156" y="139180"/>
                      </a:lnTo>
                      <a:cubicBezTo>
                        <a:pt x="46670" y="136985"/>
                        <a:pt x="42280" y="134242"/>
                        <a:pt x="37891" y="130950"/>
                      </a:cubicBezTo>
                    </a:path>
                  </a:pathLst>
                </a:custGeom>
                <a:solidFill>
                  <a:srgbClr val="A0A1A2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" name="Freeform: Shape 5">
                  <a:extLst>
                    <a:ext uri="{FF2B5EF4-FFF2-40B4-BE49-F238E27FC236}">
                      <a16:creationId xmlns:a16="http://schemas.microsoft.com/office/drawing/2014/main" id="{2225D986-F402-4C3D-A0F6-5CCE6C63C308}"/>
                    </a:ext>
                  </a:extLst>
                </p:cNvPr>
                <p:cNvSpPr/>
                <p:nvPr/>
              </p:nvSpPr>
              <p:spPr>
                <a:xfrm>
                  <a:off x="3415484" y="2375277"/>
                  <a:ext cx="94830" cy="121925"/>
                </a:xfrm>
                <a:custGeom>
                  <a:avLst/>
                  <a:gdLst>
                    <a:gd name="connsiteX0" fmla="*/ 37891 w 115214"/>
                    <a:gd name="connsiteY0" fmla="*/ 130950 h 148132"/>
                    <a:gd name="connsiteX1" fmla="*/ 13751 w 115214"/>
                    <a:gd name="connsiteY1" fmla="*/ 86511 h 148132"/>
                    <a:gd name="connsiteX2" fmla="*/ 28016 w 115214"/>
                    <a:gd name="connsiteY2" fmla="*/ 38230 h 148132"/>
                    <a:gd name="connsiteX3" fmla="*/ 72456 w 115214"/>
                    <a:gd name="connsiteY3" fmla="*/ 14090 h 148132"/>
                    <a:gd name="connsiteX4" fmla="*/ 112506 w 115214"/>
                    <a:gd name="connsiteY4" fmla="*/ 22868 h 148132"/>
                    <a:gd name="connsiteX5" fmla="*/ 118541 w 115214"/>
                    <a:gd name="connsiteY5" fmla="*/ 10798 h 148132"/>
                    <a:gd name="connsiteX6" fmla="*/ 70810 w 115214"/>
                    <a:gd name="connsiteY6" fmla="*/ 374 h 148132"/>
                    <a:gd name="connsiteX7" fmla="*/ 17592 w 115214"/>
                    <a:gd name="connsiteY7" fmla="*/ 29452 h 148132"/>
                    <a:gd name="connsiteX8" fmla="*/ 17592 w 115214"/>
                    <a:gd name="connsiteY8" fmla="*/ 29452 h 148132"/>
                    <a:gd name="connsiteX9" fmla="*/ 584 w 115214"/>
                    <a:gd name="connsiteY9" fmla="*/ 87608 h 148132"/>
                    <a:gd name="connsiteX10" fmla="*/ 29662 w 115214"/>
                    <a:gd name="connsiteY10" fmla="*/ 140826 h 148132"/>
                    <a:gd name="connsiteX11" fmla="*/ 46121 w 115214"/>
                    <a:gd name="connsiteY11" fmla="*/ 151250 h 148132"/>
                    <a:gd name="connsiteX12" fmla="*/ 52156 w 115214"/>
                    <a:gd name="connsiteY12" fmla="*/ 139180 h 148132"/>
                    <a:gd name="connsiteX13" fmla="*/ 37891 w 115214"/>
                    <a:gd name="connsiteY13" fmla="*/ 130950 h 148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15214" h="148132">
                      <a:moveTo>
                        <a:pt x="37891" y="130950"/>
                      </a:moveTo>
                      <a:cubicBezTo>
                        <a:pt x="24724" y="120526"/>
                        <a:pt x="15946" y="104616"/>
                        <a:pt x="13751" y="86511"/>
                      </a:cubicBezTo>
                      <a:cubicBezTo>
                        <a:pt x="12105" y="68405"/>
                        <a:pt x="17592" y="51398"/>
                        <a:pt x="28016" y="38230"/>
                      </a:cubicBezTo>
                      <a:cubicBezTo>
                        <a:pt x="38440" y="25063"/>
                        <a:pt x="54351" y="16285"/>
                        <a:pt x="72456" y="14090"/>
                      </a:cubicBezTo>
                      <a:cubicBezTo>
                        <a:pt x="87269" y="12444"/>
                        <a:pt x="100985" y="15736"/>
                        <a:pt x="112506" y="22868"/>
                      </a:cubicBezTo>
                      <a:lnTo>
                        <a:pt x="118541" y="10798"/>
                      </a:lnTo>
                      <a:cubicBezTo>
                        <a:pt x="104277" y="2569"/>
                        <a:pt x="87818" y="-1272"/>
                        <a:pt x="70810" y="374"/>
                      </a:cubicBezTo>
                      <a:cubicBezTo>
                        <a:pt x="48864" y="2569"/>
                        <a:pt x="30210" y="13541"/>
                        <a:pt x="17592" y="29452"/>
                      </a:cubicBezTo>
                      <a:lnTo>
                        <a:pt x="17592" y="29452"/>
                      </a:lnTo>
                      <a:cubicBezTo>
                        <a:pt x="4973" y="45363"/>
                        <a:pt x="-2159" y="65662"/>
                        <a:pt x="584" y="87608"/>
                      </a:cubicBezTo>
                      <a:cubicBezTo>
                        <a:pt x="2778" y="109553"/>
                        <a:pt x="13751" y="128207"/>
                        <a:pt x="29662" y="140826"/>
                      </a:cubicBezTo>
                      <a:cubicBezTo>
                        <a:pt x="34600" y="144666"/>
                        <a:pt x="40086" y="148507"/>
                        <a:pt x="46121" y="151250"/>
                      </a:cubicBezTo>
                      <a:lnTo>
                        <a:pt x="52156" y="139180"/>
                      </a:lnTo>
                      <a:cubicBezTo>
                        <a:pt x="46670" y="136985"/>
                        <a:pt x="42280" y="134242"/>
                        <a:pt x="37891" y="130950"/>
                      </a:cubicBezTo>
                    </a:path>
                  </a:pathLst>
                </a:custGeom>
                <a:solidFill>
                  <a:srgbClr val="59B4D9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Freeform: Shape 6">
                  <a:extLst>
                    <a:ext uri="{FF2B5EF4-FFF2-40B4-BE49-F238E27FC236}">
                      <a16:creationId xmlns:a16="http://schemas.microsoft.com/office/drawing/2014/main" id="{C4BB26B0-EAB8-42A9-BF6D-BC0B56DDCBFE}"/>
                    </a:ext>
                  </a:extLst>
                </p:cNvPr>
                <p:cNvSpPr/>
                <p:nvPr/>
              </p:nvSpPr>
              <p:spPr>
                <a:xfrm>
                  <a:off x="3479358" y="2438526"/>
                  <a:ext cx="31610" cy="18063"/>
                </a:xfrm>
                <a:custGeom>
                  <a:avLst/>
                  <a:gdLst>
                    <a:gd name="connsiteX0" fmla="*/ 34903 w 38404"/>
                    <a:gd name="connsiteY0" fmla="*/ 23381 h 21945"/>
                    <a:gd name="connsiteX1" fmla="*/ 4179 w 38404"/>
                    <a:gd name="connsiteY1" fmla="*/ 12409 h 21945"/>
                    <a:gd name="connsiteX2" fmla="*/ 339 w 38404"/>
                    <a:gd name="connsiteY2" fmla="*/ 4179 h 21945"/>
                    <a:gd name="connsiteX3" fmla="*/ 8568 w 38404"/>
                    <a:gd name="connsiteY3" fmla="*/ 339 h 21945"/>
                    <a:gd name="connsiteX4" fmla="*/ 39292 w 38404"/>
                    <a:gd name="connsiteY4" fmla="*/ 11311 h 21945"/>
                    <a:gd name="connsiteX5" fmla="*/ 43132 w 38404"/>
                    <a:gd name="connsiteY5" fmla="*/ 19541 h 21945"/>
                    <a:gd name="connsiteX6" fmla="*/ 34903 w 38404"/>
                    <a:gd name="connsiteY6" fmla="*/ 23381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404" h="21945">
                      <a:moveTo>
                        <a:pt x="34903" y="23381"/>
                      </a:moveTo>
                      <a:lnTo>
                        <a:pt x="4179" y="12409"/>
                      </a:lnTo>
                      <a:cubicBezTo>
                        <a:pt x="887" y="11311"/>
                        <a:pt x="-759" y="7471"/>
                        <a:pt x="339" y="4179"/>
                      </a:cubicBezTo>
                      <a:cubicBezTo>
                        <a:pt x="1436" y="887"/>
                        <a:pt x="5276" y="-759"/>
                        <a:pt x="8568" y="339"/>
                      </a:cubicBezTo>
                      <a:lnTo>
                        <a:pt x="39292" y="11311"/>
                      </a:lnTo>
                      <a:cubicBezTo>
                        <a:pt x="42584" y="12409"/>
                        <a:pt x="44230" y="16249"/>
                        <a:pt x="43132" y="19541"/>
                      </a:cubicBezTo>
                      <a:cubicBezTo>
                        <a:pt x="42035" y="22833"/>
                        <a:pt x="38195" y="25027"/>
                        <a:pt x="34903" y="23381"/>
                      </a:cubicBezTo>
                      <a:close/>
                    </a:path>
                  </a:pathLst>
                </a:custGeom>
                <a:solidFill>
                  <a:srgbClr val="7A7A7A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Freeform: Shape 7">
                  <a:extLst>
                    <a:ext uri="{FF2B5EF4-FFF2-40B4-BE49-F238E27FC236}">
                      <a16:creationId xmlns:a16="http://schemas.microsoft.com/office/drawing/2014/main" id="{402EA886-98E6-41DE-AD05-6BE0164D8080}"/>
                    </a:ext>
                  </a:extLst>
                </p:cNvPr>
                <p:cNvSpPr/>
                <p:nvPr/>
              </p:nvSpPr>
              <p:spPr>
                <a:xfrm>
                  <a:off x="3474669" y="2392744"/>
                  <a:ext cx="9032" cy="54189"/>
                </a:xfrm>
                <a:custGeom>
                  <a:avLst/>
                  <a:gdLst>
                    <a:gd name="connsiteX0" fmla="*/ 6584 w 10972"/>
                    <a:gd name="connsiteY0" fmla="*/ 66934 h 65836"/>
                    <a:gd name="connsiteX1" fmla="*/ 0 w 10972"/>
                    <a:gd name="connsiteY1" fmla="*/ 60350 h 65836"/>
                    <a:gd name="connsiteX2" fmla="*/ 0 w 10972"/>
                    <a:gd name="connsiteY2" fmla="*/ 6584 h 65836"/>
                    <a:gd name="connsiteX3" fmla="*/ 6584 w 10972"/>
                    <a:gd name="connsiteY3" fmla="*/ 0 h 65836"/>
                    <a:gd name="connsiteX4" fmla="*/ 13167 w 10972"/>
                    <a:gd name="connsiteY4" fmla="*/ 6584 h 65836"/>
                    <a:gd name="connsiteX5" fmla="*/ 13167 w 10972"/>
                    <a:gd name="connsiteY5" fmla="*/ 60350 h 65836"/>
                    <a:gd name="connsiteX6" fmla="*/ 6584 w 10972"/>
                    <a:gd name="connsiteY6" fmla="*/ 66934 h 658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72" h="65836">
                      <a:moveTo>
                        <a:pt x="6584" y="66934"/>
                      </a:moveTo>
                      <a:cubicBezTo>
                        <a:pt x="3292" y="66934"/>
                        <a:pt x="0" y="64191"/>
                        <a:pt x="0" y="60350"/>
                      </a:cubicBezTo>
                      <a:lnTo>
                        <a:pt x="0" y="6584"/>
                      </a:lnTo>
                      <a:cubicBezTo>
                        <a:pt x="0" y="3292"/>
                        <a:pt x="2743" y="0"/>
                        <a:pt x="6584" y="0"/>
                      </a:cubicBezTo>
                      <a:cubicBezTo>
                        <a:pt x="9876" y="0"/>
                        <a:pt x="13167" y="2743"/>
                        <a:pt x="13167" y="6584"/>
                      </a:cubicBezTo>
                      <a:lnTo>
                        <a:pt x="13167" y="60350"/>
                      </a:lnTo>
                      <a:cubicBezTo>
                        <a:pt x="13167" y="64191"/>
                        <a:pt x="10424" y="66934"/>
                        <a:pt x="6584" y="66934"/>
                      </a:cubicBezTo>
                      <a:close/>
                    </a:path>
                  </a:pathLst>
                </a:custGeom>
                <a:solidFill>
                  <a:srgbClr val="7A7A7A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Freeform: Shape 8">
                  <a:extLst>
                    <a:ext uri="{FF2B5EF4-FFF2-40B4-BE49-F238E27FC236}">
                      <a16:creationId xmlns:a16="http://schemas.microsoft.com/office/drawing/2014/main" id="{7BC5D636-B158-4675-8D1A-74DEFFD0A04D}"/>
                    </a:ext>
                  </a:extLst>
                </p:cNvPr>
                <p:cNvSpPr/>
                <p:nvPr/>
              </p:nvSpPr>
              <p:spPr>
                <a:xfrm>
                  <a:off x="3472411" y="2435192"/>
                  <a:ext cx="13547" cy="13547"/>
                </a:xfrm>
                <a:custGeom>
                  <a:avLst/>
                  <a:gdLst>
                    <a:gd name="connsiteX0" fmla="*/ 18654 w 16459"/>
                    <a:gd name="connsiteY0" fmla="*/ 9327 h 16459"/>
                    <a:gd name="connsiteX1" fmla="*/ 9327 w 16459"/>
                    <a:gd name="connsiteY1" fmla="*/ 18654 h 16459"/>
                    <a:gd name="connsiteX2" fmla="*/ 0 w 16459"/>
                    <a:gd name="connsiteY2" fmla="*/ 9327 h 16459"/>
                    <a:gd name="connsiteX3" fmla="*/ 9327 w 16459"/>
                    <a:gd name="connsiteY3" fmla="*/ 0 h 16459"/>
                    <a:gd name="connsiteX4" fmla="*/ 18654 w 16459"/>
                    <a:gd name="connsiteY4" fmla="*/ 9327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459" h="16459">
                      <a:moveTo>
                        <a:pt x="18654" y="9327"/>
                      </a:moveTo>
                      <a:cubicBezTo>
                        <a:pt x="18654" y="14478"/>
                        <a:pt x="14478" y="18654"/>
                        <a:pt x="9327" y="18654"/>
                      </a:cubicBezTo>
                      <a:cubicBezTo>
                        <a:pt x="4176" y="18654"/>
                        <a:pt x="0" y="14478"/>
                        <a:pt x="0" y="9327"/>
                      </a:cubicBezTo>
                      <a:cubicBezTo>
                        <a:pt x="0" y="4176"/>
                        <a:pt x="4176" y="0"/>
                        <a:pt x="9327" y="0"/>
                      </a:cubicBezTo>
                      <a:cubicBezTo>
                        <a:pt x="14478" y="0"/>
                        <a:pt x="18654" y="4176"/>
                        <a:pt x="18654" y="9327"/>
                      </a:cubicBezTo>
                      <a:close/>
                    </a:path>
                  </a:pathLst>
                </a:custGeom>
                <a:solidFill>
                  <a:srgbClr val="1E1E1E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4B30EFA4-6BF7-44B0-8AF8-48A0045C326D}"/>
                    </a:ext>
                  </a:extLst>
                </p:cNvPr>
                <p:cNvSpPr/>
                <p:nvPr/>
              </p:nvSpPr>
              <p:spPr>
                <a:xfrm>
                  <a:off x="3384806" y="2361586"/>
                  <a:ext cx="144504" cy="189661"/>
                </a:xfrm>
                <a:custGeom>
                  <a:avLst/>
                  <a:gdLst>
                    <a:gd name="connsiteX0" fmla="*/ 108082 w 175564"/>
                    <a:gd name="connsiteY0" fmla="*/ 167335 h 230428"/>
                    <a:gd name="connsiteX1" fmla="*/ 140452 w 175564"/>
                    <a:gd name="connsiteY1" fmla="*/ 197510 h 230428"/>
                    <a:gd name="connsiteX2" fmla="*/ 111923 w 175564"/>
                    <a:gd name="connsiteY2" fmla="*/ 230429 h 230428"/>
                    <a:gd name="connsiteX3" fmla="*/ 112471 w 175564"/>
                    <a:gd name="connsiteY3" fmla="*/ 209032 h 230428"/>
                    <a:gd name="connsiteX4" fmla="*/ 104790 w 175564"/>
                    <a:gd name="connsiteY4" fmla="*/ 209032 h 230428"/>
                    <a:gd name="connsiteX5" fmla="*/ 0 w 175564"/>
                    <a:gd name="connsiteY5" fmla="*/ 104242 h 230428"/>
                    <a:gd name="connsiteX6" fmla="*/ 104242 w 175564"/>
                    <a:gd name="connsiteY6" fmla="*/ 0 h 230428"/>
                    <a:gd name="connsiteX7" fmla="*/ 178857 w 175564"/>
                    <a:gd name="connsiteY7" fmla="*/ 31272 h 230428"/>
                    <a:gd name="connsiteX8" fmla="*/ 115214 w 175564"/>
                    <a:gd name="connsiteY8" fmla="*/ 4938 h 230428"/>
                    <a:gd name="connsiteX9" fmla="*/ 24689 w 175564"/>
                    <a:gd name="connsiteY9" fmla="*/ 95463 h 230428"/>
                    <a:gd name="connsiteX10" fmla="*/ 110825 w 175564"/>
                    <a:gd name="connsiteY10" fmla="*/ 185989 h 230428"/>
                    <a:gd name="connsiteX11" fmla="*/ 108082 w 175564"/>
                    <a:gd name="connsiteY11" fmla="*/ 167335 h 230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5564" h="230428">
                      <a:moveTo>
                        <a:pt x="108082" y="167335"/>
                      </a:moveTo>
                      <a:lnTo>
                        <a:pt x="140452" y="197510"/>
                      </a:lnTo>
                      <a:lnTo>
                        <a:pt x="111923" y="230429"/>
                      </a:lnTo>
                      <a:lnTo>
                        <a:pt x="112471" y="209032"/>
                      </a:lnTo>
                      <a:cubicBezTo>
                        <a:pt x="110277" y="209032"/>
                        <a:pt x="106985" y="209032"/>
                        <a:pt x="104790" y="209032"/>
                      </a:cubicBezTo>
                      <a:cubicBezTo>
                        <a:pt x="47183" y="209032"/>
                        <a:pt x="0" y="162397"/>
                        <a:pt x="0" y="104242"/>
                      </a:cubicBezTo>
                      <a:cubicBezTo>
                        <a:pt x="0" y="46086"/>
                        <a:pt x="46086" y="0"/>
                        <a:pt x="104242" y="0"/>
                      </a:cubicBezTo>
                      <a:cubicBezTo>
                        <a:pt x="133320" y="0"/>
                        <a:pt x="159654" y="12070"/>
                        <a:pt x="178857" y="31272"/>
                      </a:cubicBezTo>
                      <a:cubicBezTo>
                        <a:pt x="162397" y="15362"/>
                        <a:pt x="139903" y="5486"/>
                        <a:pt x="115214" y="4938"/>
                      </a:cubicBezTo>
                      <a:cubicBezTo>
                        <a:pt x="65288" y="4938"/>
                        <a:pt x="24689" y="45537"/>
                        <a:pt x="24689" y="95463"/>
                      </a:cubicBezTo>
                      <a:cubicBezTo>
                        <a:pt x="24689" y="143744"/>
                        <a:pt x="63642" y="182697"/>
                        <a:pt x="110825" y="185989"/>
                      </a:cubicBezTo>
                      <a:lnTo>
                        <a:pt x="108082" y="167335"/>
                      </a:lnTo>
                      <a:close/>
                    </a:path>
                  </a:pathLst>
                </a:custGeom>
                <a:solidFill>
                  <a:srgbClr val="B8D432"/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Freeform: Shape 21">
                  <a:extLst>
                    <a:ext uri="{FF2B5EF4-FFF2-40B4-BE49-F238E27FC236}">
                      <a16:creationId xmlns:a16="http://schemas.microsoft.com/office/drawing/2014/main" id="{5D542312-4E3D-4C15-A032-3D66A307D59A}"/>
                    </a:ext>
                  </a:extLst>
                </p:cNvPr>
                <p:cNvSpPr/>
                <p:nvPr/>
              </p:nvSpPr>
              <p:spPr>
                <a:xfrm>
                  <a:off x="3384354" y="2368359"/>
                  <a:ext cx="112894" cy="180629"/>
                </a:xfrm>
                <a:custGeom>
                  <a:avLst/>
                  <a:gdLst>
                    <a:gd name="connsiteX0" fmla="*/ 114666 w 137160"/>
                    <a:gd name="connsiteY0" fmla="*/ 191475 h 219456"/>
                    <a:gd name="connsiteX1" fmla="*/ 14813 w 137160"/>
                    <a:gd name="connsiteY1" fmla="*/ 83942 h 219456"/>
                    <a:gd name="connsiteX2" fmla="*/ 63642 w 137160"/>
                    <a:gd name="connsiteY2" fmla="*/ 0 h 219456"/>
                    <a:gd name="connsiteX3" fmla="*/ 0 w 137160"/>
                    <a:gd name="connsiteY3" fmla="*/ 96561 h 219456"/>
                    <a:gd name="connsiteX4" fmla="*/ 104790 w 137160"/>
                    <a:gd name="connsiteY4" fmla="*/ 201351 h 219456"/>
                    <a:gd name="connsiteX5" fmla="*/ 112471 w 137160"/>
                    <a:gd name="connsiteY5" fmla="*/ 201351 h 219456"/>
                    <a:gd name="connsiteX6" fmla="*/ 111923 w 137160"/>
                    <a:gd name="connsiteY6" fmla="*/ 222748 h 219456"/>
                    <a:gd name="connsiteX7" fmla="*/ 140452 w 137160"/>
                    <a:gd name="connsiteY7" fmla="*/ 189829 h 219456"/>
                    <a:gd name="connsiteX8" fmla="*/ 114666 w 137160"/>
                    <a:gd name="connsiteY8" fmla="*/ 191475 h 219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7160" h="219456">
                      <a:moveTo>
                        <a:pt x="114666" y="191475"/>
                      </a:moveTo>
                      <a:cubicBezTo>
                        <a:pt x="57059" y="189281"/>
                        <a:pt x="12619" y="141000"/>
                        <a:pt x="14813" y="83942"/>
                      </a:cubicBezTo>
                      <a:cubicBezTo>
                        <a:pt x="16459" y="48280"/>
                        <a:pt x="35662" y="17556"/>
                        <a:pt x="63642" y="0"/>
                      </a:cubicBezTo>
                      <a:cubicBezTo>
                        <a:pt x="26335" y="15911"/>
                        <a:pt x="0" y="53218"/>
                        <a:pt x="0" y="96561"/>
                      </a:cubicBezTo>
                      <a:cubicBezTo>
                        <a:pt x="0" y="154168"/>
                        <a:pt x="46634" y="201351"/>
                        <a:pt x="104790" y="201351"/>
                      </a:cubicBezTo>
                      <a:cubicBezTo>
                        <a:pt x="106985" y="201351"/>
                        <a:pt x="110277" y="201351"/>
                        <a:pt x="112471" y="201351"/>
                      </a:cubicBezTo>
                      <a:lnTo>
                        <a:pt x="111923" y="222748"/>
                      </a:lnTo>
                      <a:lnTo>
                        <a:pt x="140452" y="189829"/>
                      </a:lnTo>
                      <a:cubicBezTo>
                        <a:pt x="132222" y="191475"/>
                        <a:pt x="123444" y="192024"/>
                        <a:pt x="114666" y="191475"/>
                      </a:cubicBezTo>
                      <a:close/>
                    </a:path>
                  </a:pathLst>
                </a:custGeom>
                <a:solidFill>
                  <a:srgbClr val="1E1E1E">
                    <a:alpha val="20000"/>
                  </a:srgbClr>
                </a:solidFill>
                <a:ln w="5334" cap="flat">
                  <a:noFill/>
                  <a:prstDash val="solid"/>
                  <a:miter/>
                </a:ln>
              </p:spPr>
              <p:txBody>
                <a:bodyPr wrap="square" rtlCol="0" anchor="ctr"/>
                <a:lstStyle/>
                <a:p>
                  <a:pPr marL="0" marR="0" lvl="0" indent="0" algn="l" defTabSz="91436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27B5D1A-2F9B-44C0-A9B3-8C896A74D6CC}"/>
                </a:ext>
              </a:extLst>
            </p:cNvPr>
            <p:cNvGrpSpPr/>
            <p:nvPr/>
          </p:nvGrpSpPr>
          <p:grpSpPr>
            <a:xfrm>
              <a:off x="7039208" y="2400908"/>
              <a:ext cx="351058" cy="447962"/>
              <a:chOff x="4200090" y="2351177"/>
              <a:chExt cx="351058" cy="447962"/>
            </a:xfrm>
          </p:grpSpPr>
          <p:sp>
            <p:nvSpPr>
              <p:cNvPr id="646" name="TextBox 645">
                <a:extLst>
                  <a:ext uri="{FF2B5EF4-FFF2-40B4-BE49-F238E27FC236}">
                    <a16:creationId xmlns:a16="http://schemas.microsoft.com/office/drawing/2014/main" id="{EF49E5CB-2FB0-4EB5-8FBB-2EBD2A9B9B0B}"/>
                  </a:ext>
                </a:extLst>
              </p:cNvPr>
              <p:cNvSpPr txBox="1"/>
              <p:nvPr/>
            </p:nvSpPr>
            <p:spPr>
              <a:xfrm>
                <a:off x="4200090" y="2605240"/>
                <a:ext cx="351058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Traffic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nage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51" name="Graphic 250">
                <a:extLst>
                  <a:ext uri="{FF2B5EF4-FFF2-40B4-BE49-F238E27FC236}">
                    <a16:creationId xmlns:a16="http://schemas.microsoft.com/office/drawing/2014/main" id="{DEF2D80D-A362-4887-8EEA-63BFA318E4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2">
                <a:extLst>
                  <a:ext uri="{96DAC541-7B7A-43D3-8B79-37D633B846F1}">
                    <asvg:svgBlip xmlns:asvg="http://schemas.microsoft.com/office/drawing/2016/SVG/main" r:embed="rId113"/>
                  </a:ext>
                </a:extLst>
              </a:blip>
              <a:stretch>
                <a:fillRect/>
              </a:stretch>
            </p:blipFill>
            <p:spPr>
              <a:xfrm>
                <a:off x="4268444" y="2351177"/>
                <a:ext cx="210480" cy="210479"/>
              </a:xfrm>
              <a:prstGeom prst="rect">
                <a:avLst/>
              </a:prstGeom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A7A6318-3585-4F4E-A2F2-AC76582F9143}"/>
                </a:ext>
              </a:extLst>
            </p:cNvPr>
            <p:cNvGrpSpPr/>
            <p:nvPr/>
          </p:nvGrpSpPr>
          <p:grpSpPr>
            <a:xfrm>
              <a:off x="2423182" y="3064209"/>
              <a:ext cx="360676" cy="530541"/>
              <a:chOff x="1814435" y="3014478"/>
              <a:chExt cx="360676" cy="530541"/>
            </a:xfrm>
          </p:grpSpPr>
          <p:sp>
            <p:nvSpPr>
              <p:cNvPr id="667" name="TextBox 666">
                <a:extLst>
                  <a:ext uri="{FF2B5EF4-FFF2-40B4-BE49-F238E27FC236}">
                    <a16:creationId xmlns:a16="http://schemas.microsoft.com/office/drawing/2014/main" id="{2D932A9D-008A-493E-B391-8F7C36B1ED4E}"/>
                  </a:ext>
                </a:extLst>
              </p:cNvPr>
              <p:cNvSpPr txBox="1"/>
              <p:nvPr/>
            </p:nvSpPr>
            <p:spPr>
              <a:xfrm>
                <a:off x="1814435" y="3254170"/>
                <a:ext cx="360676" cy="2908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Resourc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nager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53" name="Graphic 252">
                <a:extLst>
                  <a:ext uri="{FF2B5EF4-FFF2-40B4-BE49-F238E27FC236}">
                    <a16:creationId xmlns:a16="http://schemas.microsoft.com/office/drawing/2014/main" id="{50DB851E-8F58-47C5-859B-0CF93E07B8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5">
                <a:extLst>
                  <a:ext uri="{96DAC541-7B7A-43D3-8B79-37D633B846F1}">
                    <asvg:svgBlip xmlns:asvg="http://schemas.microsoft.com/office/drawing/2016/SVG/main" r:embed="rId116"/>
                  </a:ext>
                </a:extLst>
              </a:blip>
              <a:stretch>
                <a:fillRect/>
              </a:stretch>
            </p:blipFill>
            <p:spPr>
              <a:xfrm>
                <a:off x="1901910" y="3014478"/>
                <a:ext cx="181738" cy="181737"/>
              </a:xfrm>
              <a:prstGeom prst="rect">
                <a:avLst/>
              </a:prstGeom>
            </p:spPr>
          </p:pic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A879D5D-1476-4CEE-9378-7FE8E513AEF8}"/>
                </a:ext>
              </a:extLst>
            </p:cNvPr>
            <p:cNvGrpSpPr/>
            <p:nvPr/>
          </p:nvGrpSpPr>
          <p:grpSpPr>
            <a:xfrm>
              <a:off x="11410538" y="2405838"/>
              <a:ext cx="278923" cy="527408"/>
              <a:chOff x="6433033" y="2368681"/>
              <a:chExt cx="278923" cy="527408"/>
            </a:xfrm>
          </p:grpSpPr>
          <p:sp>
            <p:nvSpPr>
              <p:cNvPr id="661" name="TextBox 660">
                <a:extLst>
                  <a:ext uri="{FF2B5EF4-FFF2-40B4-BE49-F238E27FC236}">
                    <a16:creationId xmlns:a16="http://schemas.microsoft.com/office/drawing/2014/main" id="{03ADFA14-03DD-4FEF-BF36-7B2B47375AEF}"/>
                  </a:ext>
                </a:extLst>
              </p:cNvPr>
              <p:cNvSpPr txBox="1"/>
              <p:nvPr/>
            </p:nvSpPr>
            <p:spPr>
              <a:xfrm>
                <a:off x="6433033" y="2605240"/>
                <a:ext cx="278923" cy="2908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ervic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1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ealth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54" name="Graphic 253">
                <a:extLst>
                  <a:ext uri="{FF2B5EF4-FFF2-40B4-BE49-F238E27FC236}">
                    <a16:creationId xmlns:a16="http://schemas.microsoft.com/office/drawing/2014/main" id="{FD392409-9D12-4832-AE46-3AE4115C58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8">
                <a:extLst>
                  <a:ext uri="{96DAC541-7B7A-43D3-8B79-37D633B846F1}">
                    <asvg:svgBlip xmlns:asvg="http://schemas.microsoft.com/office/drawing/2016/SVG/main" r:embed="rId119"/>
                  </a:ext>
                </a:extLst>
              </a:blip>
              <a:stretch>
                <a:fillRect/>
              </a:stretch>
            </p:blipFill>
            <p:spPr>
              <a:xfrm>
                <a:off x="6483495" y="2368681"/>
                <a:ext cx="175472" cy="175471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BE747E1-E4EE-4C68-A16A-80735BB43F93}"/>
                </a:ext>
              </a:extLst>
            </p:cNvPr>
            <p:cNvGrpSpPr/>
            <p:nvPr/>
          </p:nvGrpSpPr>
          <p:grpSpPr>
            <a:xfrm>
              <a:off x="1731409" y="2394022"/>
              <a:ext cx="286939" cy="357899"/>
              <a:chOff x="1458359" y="2344291"/>
              <a:chExt cx="286939" cy="357899"/>
            </a:xfrm>
          </p:grpSpPr>
          <p:sp>
            <p:nvSpPr>
              <p:cNvPr id="630" name="TextBox 629">
                <a:extLst>
                  <a:ext uri="{FF2B5EF4-FFF2-40B4-BE49-F238E27FC236}">
                    <a16:creationId xmlns:a16="http://schemas.microsoft.com/office/drawing/2014/main" id="{42BB33F3-EAA7-4E1A-B68F-183B992FCCB4}"/>
                  </a:ext>
                </a:extLst>
              </p:cNvPr>
              <p:cNvSpPr txBox="1"/>
              <p:nvPr/>
            </p:nvSpPr>
            <p:spPr>
              <a:xfrm>
                <a:off x="1458359" y="2605240"/>
                <a:ext cx="286939" cy="969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Backup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58" name="Graphic 257">
                <a:extLst>
                  <a:ext uri="{FF2B5EF4-FFF2-40B4-BE49-F238E27FC236}">
                    <a16:creationId xmlns:a16="http://schemas.microsoft.com/office/drawing/2014/main" id="{FAFF6085-6195-4D08-A00F-E1970B8996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1">
                <a:extLst>
                  <a:ext uri="{96DAC541-7B7A-43D3-8B79-37D633B846F1}">
                    <asvg:svgBlip xmlns:asvg="http://schemas.microsoft.com/office/drawing/2016/SVG/main" r:embed="rId122"/>
                  </a:ext>
                </a:extLst>
              </a:blip>
              <a:stretch>
                <a:fillRect/>
              </a:stretch>
            </p:blipFill>
            <p:spPr>
              <a:xfrm>
                <a:off x="1489702" y="2344291"/>
                <a:ext cx="224253" cy="224251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1195F8B-4F16-45BC-AD5D-AC20376739EA}"/>
                </a:ext>
              </a:extLst>
            </p:cNvPr>
            <p:cNvGrpSpPr/>
            <p:nvPr/>
          </p:nvGrpSpPr>
          <p:grpSpPr>
            <a:xfrm>
              <a:off x="2526809" y="2384382"/>
              <a:ext cx="357470" cy="464488"/>
              <a:chOff x="1826081" y="2334651"/>
              <a:chExt cx="357470" cy="464488"/>
            </a:xfrm>
          </p:grpSpPr>
          <p:sp>
            <p:nvSpPr>
              <p:cNvPr id="627" name="TextBox 626">
                <a:extLst>
                  <a:ext uri="{FF2B5EF4-FFF2-40B4-BE49-F238E27FC236}">
                    <a16:creationId xmlns:a16="http://schemas.microsoft.com/office/drawing/2014/main" id="{AC465EEB-0B39-407F-8690-55DCDE915207}"/>
                  </a:ext>
                </a:extLst>
              </p:cNvPr>
              <p:cNvSpPr txBox="1"/>
              <p:nvPr/>
            </p:nvSpPr>
            <p:spPr>
              <a:xfrm>
                <a:off x="1826081" y="2605240"/>
                <a:ext cx="357470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6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it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6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6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Recovery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59" name="Graphic 258">
                <a:extLst>
                  <a:ext uri="{FF2B5EF4-FFF2-40B4-BE49-F238E27FC236}">
                    <a16:creationId xmlns:a16="http://schemas.microsoft.com/office/drawing/2014/main" id="{B3A2FAA0-FB09-44FE-AE8A-D82E2E3EFA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9">
                <a:extLst>
                  <a:ext uri="{96DAC541-7B7A-43D3-8B79-37D633B846F1}">
                    <asvg:svgBlip xmlns:asvg="http://schemas.microsoft.com/office/drawing/2016/SVG/main" r:embed="rId70"/>
                  </a:ext>
                </a:extLst>
              </a:blip>
              <a:stretch>
                <a:fillRect/>
              </a:stretch>
            </p:blipFill>
            <p:spPr>
              <a:xfrm>
                <a:off x="1875032" y="2334651"/>
                <a:ext cx="243532" cy="243530"/>
              </a:xfrm>
              <a:prstGeom prst="rect">
                <a:avLst/>
              </a:prstGeom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1155A82-D38B-43AD-831B-1689EF7B4868}"/>
                </a:ext>
              </a:extLst>
            </p:cNvPr>
            <p:cNvGrpSpPr/>
            <p:nvPr/>
          </p:nvGrpSpPr>
          <p:grpSpPr>
            <a:xfrm>
              <a:off x="3392740" y="2393252"/>
              <a:ext cx="452048" cy="455618"/>
              <a:chOff x="2264334" y="2343521"/>
              <a:chExt cx="452048" cy="455618"/>
            </a:xfrm>
          </p:grpSpPr>
          <p:sp>
            <p:nvSpPr>
              <p:cNvPr id="634" name="TextBox 633">
                <a:extLst>
                  <a:ext uri="{FF2B5EF4-FFF2-40B4-BE49-F238E27FC236}">
                    <a16:creationId xmlns:a16="http://schemas.microsoft.com/office/drawing/2014/main" id="{DFE15AB3-68CD-4DC0-8D5D-72FF79DA3E44}"/>
                  </a:ext>
                </a:extLst>
              </p:cNvPr>
              <p:cNvSpPr txBox="1"/>
              <p:nvPr/>
            </p:nvSpPr>
            <p:spPr>
              <a:xfrm>
                <a:off x="2264334" y="2605240"/>
                <a:ext cx="452048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5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pplication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5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5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nsight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260" name="Graphic 259">
                <a:extLst>
                  <a:ext uri="{FF2B5EF4-FFF2-40B4-BE49-F238E27FC236}">
                    <a16:creationId xmlns:a16="http://schemas.microsoft.com/office/drawing/2014/main" id="{CDFDDC9D-2A30-4C38-9D1F-F0B8B51DDD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2">
                <a:extLst>
                  <a:ext uri="{96DAC541-7B7A-43D3-8B79-37D633B846F1}">
                    <asvg:svgBlip xmlns:asvg="http://schemas.microsoft.com/office/drawing/2016/SVG/main" r:embed="rId53"/>
                  </a:ext>
                </a:extLst>
              </a:blip>
              <a:stretch>
                <a:fillRect/>
              </a:stretch>
            </p:blipFill>
            <p:spPr>
              <a:xfrm>
                <a:off x="2376547" y="2343521"/>
                <a:ext cx="225793" cy="225791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24CBD3E-911B-4248-B0F8-F2C8CA1BA959}"/>
                </a:ext>
              </a:extLst>
            </p:cNvPr>
            <p:cNvGrpSpPr/>
            <p:nvPr/>
          </p:nvGrpSpPr>
          <p:grpSpPr>
            <a:xfrm>
              <a:off x="9588911" y="2404267"/>
              <a:ext cx="468077" cy="444603"/>
              <a:chOff x="5466759" y="2354536"/>
              <a:chExt cx="468077" cy="444603"/>
            </a:xfrm>
          </p:grpSpPr>
          <p:sp>
            <p:nvSpPr>
              <p:cNvPr id="655" name="TextBox 654">
                <a:extLst>
                  <a:ext uri="{FF2B5EF4-FFF2-40B4-BE49-F238E27FC236}">
                    <a16:creationId xmlns:a16="http://schemas.microsoft.com/office/drawing/2014/main" id="{3008DCF5-875E-4678-8010-38DBD4BCFB3C}"/>
                  </a:ext>
                </a:extLst>
              </p:cNvPr>
              <p:cNvSpPr txBox="1"/>
              <p:nvPr/>
            </p:nvSpPr>
            <p:spPr>
              <a:xfrm>
                <a:off x="5466759" y="2605240"/>
                <a:ext cx="468077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ecurity &amp;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Complianc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13" name="Graphic 312">
                <a:extLst>
                  <a:ext uri="{FF2B5EF4-FFF2-40B4-BE49-F238E27FC236}">
                    <a16:creationId xmlns:a16="http://schemas.microsoft.com/office/drawing/2014/main" id="{4BF02C64-F8BD-4BF1-B17A-B937F3A4B4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583344" y="2354536"/>
                <a:ext cx="203762" cy="203761"/>
              </a:xfrm>
              <a:prstGeom prst="rect">
                <a:avLst/>
              </a:prstGeom>
            </p:spPr>
          </p:pic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5D0176-80A7-4441-8CCB-B90DD306E159}"/>
                </a:ext>
              </a:extLst>
            </p:cNvPr>
            <p:cNvGrpSpPr/>
            <p:nvPr/>
          </p:nvGrpSpPr>
          <p:grpSpPr>
            <a:xfrm>
              <a:off x="3211351" y="3066042"/>
              <a:ext cx="251676" cy="431758"/>
              <a:chOff x="2260442" y="3016311"/>
              <a:chExt cx="251676" cy="431758"/>
            </a:xfrm>
          </p:grpSpPr>
          <p:sp>
            <p:nvSpPr>
              <p:cNvPr id="670" name="TextBox 669">
                <a:extLst>
                  <a:ext uri="{FF2B5EF4-FFF2-40B4-BE49-F238E27FC236}">
                    <a16:creationId xmlns:a16="http://schemas.microsoft.com/office/drawing/2014/main" id="{6A62F186-A30B-4F32-B627-405A5DD6C577}"/>
                  </a:ext>
                </a:extLst>
              </p:cNvPr>
              <p:cNvSpPr txBox="1"/>
              <p:nvPr/>
            </p:nvSpPr>
            <p:spPr>
              <a:xfrm>
                <a:off x="2269177" y="3254170"/>
                <a:ext cx="235642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Cloud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hell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15" name="Picture 314">
                <a:extLst>
                  <a:ext uri="{FF2B5EF4-FFF2-40B4-BE49-F238E27FC236}">
                    <a16:creationId xmlns:a16="http://schemas.microsoft.com/office/drawing/2014/main" id="{10176BBF-8D56-4699-880F-C575846BA2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4"/>
              <a:stretch>
                <a:fillRect/>
              </a:stretch>
            </p:blipFill>
            <p:spPr>
              <a:xfrm>
                <a:off x="2260442" y="3016311"/>
                <a:ext cx="251676" cy="178071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A9EC97A-E16A-42B2-BB27-8477C3192CBC}"/>
                </a:ext>
              </a:extLst>
            </p:cNvPr>
            <p:cNvGrpSpPr/>
            <p:nvPr/>
          </p:nvGrpSpPr>
          <p:grpSpPr>
            <a:xfrm>
              <a:off x="8009297" y="3047265"/>
              <a:ext cx="599523" cy="450535"/>
              <a:chOff x="5004322" y="2997534"/>
              <a:chExt cx="599523" cy="450535"/>
            </a:xfrm>
          </p:grpSpPr>
          <p:sp>
            <p:nvSpPr>
              <p:cNvPr id="688" name="TextBox 687">
                <a:extLst>
                  <a:ext uri="{FF2B5EF4-FFF2-40B4-BE49-F238E27FC236}">
                    <a16:creationId xmlns:a16="http://schemas.microsoft.com/office/drawing/2014/main" id="{27BB89CD-CFD5-43F5-AB87-CCFC64112EEE}"/>
                  </a:ext>
                </a:extLst>
              </p:cNvPr>
              <p:cNvSpPr txBox="1"/>
              <p:nvPr/>
            </p:nvSpPr>
            <p:spPr>
              <a:xfrm>
                <a:off x="5004322" y="3254170"/>
                <a:ext cx="599523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naged App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18" name="Picture 317">
                <a:extLst>
                  <a:ext uri="{FF2B5EF4-FFF2-40B4-BE49-F238E27FC236}">
                    <a16:creationId xmlns:a16="http://schemas.microsoft.com/office/drawing/2014/main" id="{1EE5D517-78B6-41B5-B41D-031136AB6C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6"/>
              <a:stretch>
                <a:fillRect/>
              </a:stretch>
            </p:blipFill>
            <p:spPr>
              <a:xfrm>
                <a:off x="5194397" y="2997534"/>
                <a:ext cx="215624" cy="215624"/>
              </a:xfrm>
              <a:prstGeom prst="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34BFAC9-8C89-431E-9F41-FCE0EA679B70}"/>
                </a:ext>
              </a:extLst>
            </p:cNvPr>
            <p:cNvGrpSpPr/>
            <p:nvPr/>
          </p:nvGrpSpPr>
          <p:grpSpPr>
            <a:xfrm>
              <a:off x="1764856" y="3085639"/>
              <a:ext cx="230833" cy="412161"/>
              <a:chOff x="1491806" y="3035908"/>
              <a:chExt cx="230833" cy="412161"/>
            </a:xfrm>
          </p:grpSpPr>
          <p:sp>
            <p:nvSpPr>
              <p:cNvPr id="664" name="TextBox 663">
                <a:extLst>
                  <a:ext uri="{FF2B5EF4-FFF2-40B4-BE49-F238E27FC236}">
                    <a16:creationId xmlns:a16="http://schemas.microsoft.com/office/drawing/2014/main" id="{41E5CF2E-8313-44D9-92F4-5661114A02A9}"/>
                  </a:ext>
                </a:extLst>
              </p:cNvPr>
              <p:cNvSpPr txBox="1"/>
              <p:nvPr/>
            </p:nvSpPr>
            <p:spPr>
              <a:xfrm>
                <a:off x="1491806" y="3254170"/>
                <a:ext cx="230833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rtal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076" name="Picture 4" descr="Image result for azure logo">
                <a:extLst>
                  <a:ext uri="{FF2B5EF4-FFF2-40B4-BE49-F238E27FC236}">
                    <a16:creationId xmlns:a16="http://schemas.microsoft.com/office/drawing/2014/main" id="{C874020C-03A0-4ACA-A127-61E4403898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999" t="22704" r="30999" b="24837"/>
              <a:stretch/>
            </p:blipFill>
            <p:spPr bwMode="auto">
              <a:xfrm>
                <a:off x="1509219" y="3035908"/>
                <a:ext cx="181200" cy="138876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442E101-5719-4865-BD2E-3635C72CE652}"/>
                </a:ext>
              </a:extLst>
            </p:cNvPr>
            <p:cNvGrpSpPr/>
            <p:nvPr/>
          </p:nvGrpSpPr>
          <p:grpSpPr>
            <a:xfrm>
              <a:off x="7898727" y="2389973"/>
              <a:ext cx="352661" cy="458897"/>
              <a:chOff x="4631931" y="2340242"/>
              <a:chExt cx="352661" cy="458897"/>
            </a:xfrm>
          </p:grpSpPr>
          <p:sp>
            <p:nvSpPr>
              <p:cNvPr id="649" name="TextBox 648">
                <a:extLst>
                  <a:ext uri="{FF2B5EF4-FFF2-40B4-BE49-F238E27FC236}">
                    <a16:creationId xmlns:a16="http://schemas.microsoft.com/office/drawing/2014/main" id="{154081B8-F80B-4EDC-B24A-ED34DBC459A7}"/>
                  </a:ext>
                </a:extLst>
              </p:cNvPr>
              <p:cNvSpPr txBox="1"/>
              <p:nvPr/>
            </p:nvSpPr>
            <p:spPr>
              <a:xfrm>
                <a:off x="4631931" y="2605240"/>
                <a:ext cx="35266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Log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2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nalytic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25" name="Graphic 18" descr="OMS, Operational Insights">
                <a:extLst>
                  <a:ext uri="{FF2B5EF4-FFF2-40B4-BE49-F238E27FC236}">
                    <a16:creationId xmlns:a16="http://schemas.microsoft.com/office/drawing/2014/main" id="{FE7991E5-92D5-4D94-B765-D76EF87F6A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1"/>
                  </a:ext>
                </a:extLst>
              </a:blip>
              <a:stretch>
                <a:fillRect/>
              </a:stretch>
            </p:blipFill>
            <p:spPr>
              <a:xfrm>
                <a:off x="4695876" y="2340242"/>
                <a:ext cx="232350" cy="232349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BD71EE3-07D3-409A-A9F5-E0F2B6E7EF70}"/>
                </a:ext>
              </a:extLst>
            </p:cNvPr>
            <p:cNvGrpSpPr/>
            <p:nvPr/>
          </p:nvGrpSpPr>
          <p:grpSpPr>
            <a:xfrm>
              <a:off x="7056019" y="3040620"/>
              <a:ext cx="525785" cy="457180"/>
              <a:chOff x="4397754" y="2990889"/>
              <a:chExt cx="525785" cy="457180"/>
            </a:xfrm>
          </p:grpSpPr>
          <p:sp>
            <p:nvSpPr>
              <p:cNvPr id="685" name="TextBox 684">
                <a:extLst>
                  <a:ext uri="{FF2B5EF4-FFF2-40B4-BE49-F238E27FC236}">
                    <a16:creationId xmlns:a16="http://schemas.microsoft.com/office/drawing/2014/main" id="{BB674CBE-0E39-4370-B21C-429082410C73}"/>
                  </a:ext>
                </a:extLst>
              </p:cNvPr>
              <p:cNvSpPr txBox="1"/>
              <p:nvPr/>
            </p:nvSpPr>
            <p:spPr>
              <a:xfrm>
                <a:off x="4397754" y="3254170"/>
                <a:ext cx="525785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Cost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nagement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30" name="Picture 329" descr="Cost Management">
                <a:extLst>
                  <a:ext uri="{FF2B5EF4-FFF2-40B4-BE49-F238E27FC236}">
                    <a16:creationId xmlns:a16="http://schemas.microsoft.com/office/drawing/2014/main" id="{38EB18FB-B833-4E51-8E0E-833819A229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5"/>
              <a:stretch>
                <a:fillRect/>
              </a:stretch>
            </p:blipFill>
            <p:spPr>
              <a:xfrm>
                <a:off x="4558979" y="2990889"/>
                <a:ext cx="204193" cy="228914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08F3FC2-4D83-43D8-BB26-0E8A1A367CFB}"/>
                </a:ext>
              </a:extLst>
            </p:cNvPr>
            <p:cNvGrpSpPr/>
            <p:nvPr/>
          </p:nvGrpSpPr>
          <p:grpSpPr>
            <a:xfrm>
              <a:off x="3890520" y="3056869"/>
              <a:ext cx="464871" cy="440931"/>
              <a:chOff x="2591959" y="3007138"/>
              <a:chExt cx="464871" cy="440931"/>
            </a:xfrm>
          </p:grpSpPr>
          <p:sp>
            <p:nvSpPr>
              <p:cNvPr id="673" name="TextBox 672">
                <a:extLst>
                  <a:ext uri="{FF2B5EF4-FFF2-40B4-BE49-F238E27FC236}">
                    <a16:creationId xmlns:a16="http://schemas.microsoft.com/office/drawing/2014/main" id="{F8489B01-5D55-4676-9547-F638A725160E}"/>
                  </a:ext>
                </a:extLst>
              </p:cNvPr>
              <p:cNvSpPr txBox="1"/>
              <p:nvPr/>
            </p:nvSpPr>
            <p:spPr>
              <a:xfrm>
                <a:off x="2591959" y="3254170"/>
                <a:ext cx="46487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obile App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90" name="Picture 389" descr="App Service Mobile">
                <a:extLst>
                  <a:ext uri="{FF2B5EF4-FFF2-40B4-BE49-F238E27FC236}">
                    <a16:creationId xmlns:a16="http://schemas.microsoft.com/office/drawing/2014/main" id="{3BF5735A-09F8-49DF-A66C-14B4522E2C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4"/>
              <a:stretch>
                <a:fillRect/>
              </a:stretch>
            </p:blipFill>
            <p:spPr>
              <a:xfrm>
                <a:off x="2747706" y="3007138"/>
                <a:ext cx="136709" cy="196416"/>
              </a:xfrm>
              <a:prstGeom prst="rect">
                <a:avLst/>
              </a:prstGeom>
            </p:spPr>
          </p:pic>
        </p:grp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B66D3378-F7F6-4EAE-952B-D85B0929DA59}"/>
                </a:ext>
              </a:extLst>
            </p:cNvPr>
            <p:cNvSpPr/>
            <p:nvPr/>
          </p:nvSpPr>
          <p:spPr bwMode="auto">
            <a:xfrm>
              <a:off x="304975" y="2320620"/>
              <a:ext cx="1093616" cy="1312146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Management and Governance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120A760-BA4D-4229-A4B1-F0CC2A39D897}"/>
                </a:ext>
              </a:extLst>
            </p:cNvPr>
            <p:cNvGrpSpPr/>
            <p:nvPr/>
          </p:nvGrpSpPr>
          <p:grpSpPr>
            <a:xfrm>
              <a:off x="10444335" y="3071733"/>
              <a:ext cx="533484" cy="423583"/>
              <a:chOff x="6359075" y="3022002"/>
              <a:chExt cx="533484" cy="423583"/>
            </a:xfrm>
          </p:grpSpPr>
          <p:pic>
            <p:nvPicPr>
              <p:cNvPr id="247" name="Picture 246">
                <a:extLst>
                  <a:ext uri="{FF2B5EF4-FFF2-40B4-BE49-F238E27FC236}">
                    <a16:creationId xmlns:a16="http://schemas.microsoft.com/office/drawing/2014/main" id="{8D1F969D-FCDF-425E-872A-26A022F85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5"/>
              <a:stretch>
                <a:fillRect/>
              </a:stretch>
            </p:blipFill>
            <p:spPr>
              <a:xfrm>
                <a:off x="6520634" y="3022002"/>
                <a:ext cx="228600" cy="193548"/>
              </a:xfrm>
              <a:prstGeom prst="rect">
                <a:avLst/>
              </a:prstGeom>
            </p:spPr>
          </p:pic>
          <p:sp>
            <p:nvSpPr>
              <p:cNvPr id="316" name="TextBox 315">
                <a:extLst>
                  <a:ext uri="{FF2B5EF4-FFF2-40B4-BE49-F238E27FC236}">
                    <a16:creationId xmlns:a16="http://schemas.microsoft.com/office/drawing/2014/main" id="{F12BB3F2-EDBD-4310-A980-45F7CBB08704}"/>
                  </a:ext>
                </a:extLst>
              </p:cNvPr>
              <p:cNvSpPr txBox="1"/>
              <p:nvPr/>
            </p:nvSpPr>
            <p:spPr>
              <a:xfrm>
                <a:off x="6359075" y="3251686"/>
                <a:ext cx="533484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24494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  <a:hlinkClick r:id="rId136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Lighthous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47AF512F-34CF-4B59-9614-C4FB5D5B716A}"/>
                </a:ext>
              </a:extLst>
            </p:cNvPr>
            <p:cNvSpPr txBox="1"/>
            <p:nvPr/>
          </p:nvSpPr>
          <p:spPr>
            <a:xfrm>
              <a:off x="11405312" y="3333711"/>
              <a:ext cx="321293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14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/>
                </a:defRPr>
              </a:lvl1pPr>
            </a:lstStyle>
            <a:p>
              <a:pPr defTabSz="244940">
                <a:defRPr/>
              </a:pPr>
              <a:r>
                <a:rPr lang="en-US" sz="700">
                  <a:hlinkClick r:id="rId1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rc</a:t>
              </a:r>
              <a:endParaRPr lang="en-US" sz="700"/>
            </a:p>
          </p:txBody>
        </p:sp>
        <p:pic>
          <p:nvPicPr>
            <p:cNvPr id="237" name="Picture 236">
              <a:extLst>
                <a:ext uri="{FF2B5EF4-FFF2-40B4-BE49-F238E27FC236}">
                  <a16:creationId xmlns:a16="http://schemas.microsoft.com/office/drawing/2014/main" id="{74D531A6-93D2-42FA-8AFC-6F3877055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8"/>
            <a:stretch>
              <a:fillRect/>
            </a:stretch>
          </p:blipFill>
          <p:spPr>
            <a:xfrm>
              <a:off x="11419556" y="3065109"/>
              <a:ext cx="258359" cy="1920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22705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3068D75-1E65-4DEB-8D02-268B696246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3068D75-1E65-4DEB-8D02-268B69624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Rectangle: Rounded Corners 402">
            <a:extLst>
              <a:ext uri="{FF2B5EF4-FFF2-40B4-BE49-F238E27FC236}">
                <a16:creationId xmlns:a16="http://schemas.microsoft.com/office/drawing/2014/main" id="{BF1592D5-1FFA-4EBC-984F-A3739F34A675}"/>
              </a:ext>
            </a:extLst>
          </p:cNvPr>
          <p:cNvSpPr/>
          <p:nvPr/>
        </p:nvSpPr>
        <p:spPr bwMode="auto">
          <a:xfrm rot="5400000" flipH="1" flipV="1">
            <a:off x="8262454" y="-3363549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0" name="Rectangle: Rounded Corners 402">
            <a:extLst>
              <a:ext uri="{FF2B5EF4-FFF2-40B4-BE49-F238E27FC236}">
                <a16:creationId xmlns:a16="http://schemas.microsoft.com/office/drawing/2014/main" id="{3544E664-E335-4BEB-B952-5D0EFDE9C71E}"/>
              </a:ext>
            </a:extLst>
          </p:cNvPr>
          <p:cNvSpPr/>
          <p:nvPr/>
        </p:nvSpPr>
        <p:spPr bwMode="auto">
          <a:xfrm rot="5400000">
            <a:off x="3490135" y="-3044488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1" name="Rectangle: Rounded Corners 402">
            <a:extLst>
              <a:ext uri="{FF2B5EF4-FFF2-40B4-BE49-F238E27FC236}">
                <a16:creationId xmlns:a16="http://schemas.microsoft.com/office/drawing/2014/main" id="{25807CC8-C49A-448C-80A2-49F605E03D05}"/>
              </a:ext>
            </a:extLst>
          </p:cNvPr>
          <p:cNvSpPr/>
          <p:nvPr/>
        </p:nvSpPr>
        <p:spPr bwMode="auto">
          <a:xfrm>
            <a:off x="126586" y="627857"/>
            <a:ext cx="11452666" cy="5966507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414 w 11452666"/>
              <a:gd name="connsiteY3" fmla="*/ 705796 h 7046159"/>
              <a:gd name="connsiteX4" fmla="*/ 0 w 11452666"/>
              <a:gd name="connsiteY4" fmla="*/ 0 h 7046159"/>
              <a:gd name="connsiteX0" fmla="*/ 11452666 w 11452666"/>
              <a:gd name="connsiteY0" fmla="*/ 6340363 h 6340363"/>
              <a:gd name="connsiteX1" fmla="*/ 319061 w 11452666"/>
              <a:gd name="connsiteY1" fmla="*/ 6340363 h 6340363"/>
              <a:gd name="connsiteX2" fmla="*/ 0 w 11452666"/>
              <a:gd name="connsiteY2" fmla="*/ 6021302 h 6340363"/>
              <a:gd name="connsiteX3" fmla="*/ 414 w 11452666"/>
              <a:gd name="connsiteY3" fmla="*/ 0 h 6340363"/>
              <a:gd name="connsiteX0" fmla="*/ 11452666 w 11452666"/>
              <a:gd name="connsiteY0" fmla="*/ 5999844 h 5999844"/>
              <a:gd name="connsiteX1" fmla="*/ 319061 w 11452666"/>
              <a:gd name="connsiteY1" fmla="*/ 5999844 h 5999844"/>
              <a:gd name="connsiteX2" fmla="*/ 0 w 11452666"/>
              <a:gd name="connsiteY2" fmla="*/ 5680783 h 5999844"/>
              <a:gd name="connsiteX3" fmla="*/ 2795 w 11452666"/>
              <a:gd name="connsiteY3" fmla="*/ 0 h 5999844"/>
              <a:gd name="connsiteX0" fmla="*/ 11452666 w 11452666"/>
              <a:gd name="connsiteY0" fmla="*/ 5966507 h 5966507"/>
              <a:gd name="connsiteX1" fmla="*/ 319061 w 11452666"/>
              <a:gd name="connsiteY1" fmla="*/ 5966507 h 5966507"/>
              <a:gd name="connsiteX2" fmla="*/ 0 w 11452666"/>
              <a:gd name="connsiteY2" fmla="*/ 5647446 h 5966507"/>
              <a:gd name="connsiteX3" fmla="*/ 414 w 11452666"/>
              <a:gd name="connsiteY3" fmla="*/ 0 h 5966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2666" h="5966507">
                <a:moveTo>
                  <a:pt x="11452666" y="5966507"/>
                </a:moveTo>
                <a:lnTo>
                  <a:pt x="319061" y="5966507"/>
                </a:lnTo>
                <a:cubicBezTo>
                  <a:pt x="142848" y="5966507"/>
                  <a:pt x="0" y="5823659"/>
                  <a:pt x="0" y="5647446"/>
                </a:cubicBezTo>
                <a:cubicBezTo>
                  <a:pt x="932" y="3753852"/>
                  <a:pt x="-518" y="1893594"/>
                  <a:pt x="414" y="0"/>
                </a:cubicBez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2B708435-2CDE-417B-BFC6-469FC41132A6}"/>
              </a:ext>
            </a:extLst>
          </p:cNvPr>
          <p:cNvSpPr/>
          <p:nvPr/>
        </p:nvSpPr>
        <p:spPr bwMode="auto">
          <a:xfrm>
            <a:off x="1653286" y="217461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E6D22853-56F5-4C50-8B7F-A2F070DD7969}"/>
              </a:ext>
            </a:extLst>
          </p:cNvPr>
          <p:cNvSpPr/>
          <p:nvPr/>
        </p:nvSpPr>
        <p:spPr bwMode="auto">
          <a:xfrm>
            <a:off x="104475" y="6383751"/>
            <a:ext cx="203200" cy="203200"/>
          </a:xfrm>
          <a:prstGeom prst="ellipse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7BB0727F-C9F8-4321-B76C-00DA35D005FC}"/>
              </a:ext>
            </a:extLst>
          </p:cNvPr>
          <p:cNvSpPr/>
          <p:nvPr/>
        </p:nvSpPr>
        <p:spPr bwMode="auto">
          <a:xfrm>
            <a:off x="9501756" y="6483994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75" name="Rectangle: Rounded Corners 402">
            <a:extLst>
              <a:ext uri="{FF2B5EF4-FFF2-40B4-BE49-F238E27FC236}">
                <a16:creationId xmlns:a16="http://schemas.microsoft.com/office/drawing/2014/main" id="{A46BB527-634D-4ED5-AA8C-74C5B8A5B98C}"/>
              </a:ext>
            </a:extLst>
          </p:cNvPr>
          <p:cNvSpPr/>
          <p:nvPr/>
        </p:nvSpPr>
        <p:spPr bwMode="auto">
          <a:xfrm rot="16200000" flipH="1">
            <a:off x="8262454" y="3224770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5867DA9-F0BB-47BE-A33A-D2FB2B480116}"/>
              </a:ext>
            </a:extLst>
          </p:cNvPr>
          <p:cNvGrpSpPr/>
          <p:nvPr/>
        </p:nvGrpSpPr>
        <p:grpSpPr>
          <a:xfrm>
            <a:off x="304975" y="595362"/>
            <a:ext cx="11887025" cy="655389"/>
            <a:chOff x="304975" y="595362"/>
            <a:chExt cx="11887025" cy="655389"/>
          </a:xfrm>
        </p:grpSpPr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063F6DC3-6B5C-4BA7-85AA-1F929533A645}"/>
                </a:ext>
              </a:extLst>
            </p:cNvPr>
            <p:cNvSpPr/>
            <p:nvPr/>
          </p:nvSpPr>
          <p:spPr bwMode="auto">
            <a:xfrm>
              <a:off x="1402080" y="59536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A5A7A623-EC13-42F4-91AF-13BBCE9DCAA0}"/>
                </a:ext>
              </a:extLst>
            </p:cNvPr>
            <p:cNvSpPr/>
            <p:nvPr/>
          </p:nvSpPr>
          <p:spPr bwMode="auto">
            <a:xfrm>
              <a:off x="304975" y="59536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atabases</a:t>
              </a:r>
            </a:p>
          </p:txBody>
        </p: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937A61C1-A4BF-4EA1-8CF4-75D607A922D3}"/>
                </a:ext>
              </a:extLst>
            </p:cNvPr>
            <p:cNvCxnSpPr>
              <a:cxnSpLocks/>
            </p:cNvCxnSpPr>
            <p:nvPr/>
          </p:nvCxnSpPr>
          <p:spPr>
            <a:xfrm>
              <a:off x="1877131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4" name="Graphic 283">
              <a:extLst>
                <a:ext uri="{FF2B5EF4-FFF2-40B4-BE49-F238E27FC236}">
                  <a16:creationId xmlns:a16="http://schemas.microsoft.com/office/drawing/2014/main" id="{8614586F-8B80-448D-AF5E-D50B7F69E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519677" y="680853"/>
              <a:ext cx="267568" cy="267568"/>
            </a:xfrm>
            <a:prstGeom prst="rect">
              <a:avLst/>
            </a:prstGeom>
          </p:spPr>
        </p:pic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1B5BCEB1-268C-48F8-829D-55B323263B16}"/>
                </a:ext>
              </a:extLst>
            </p:cNvPr>
            <p:cNvSpPr txBox="1"/>
            <p:nvPr/>
          </p:nvSpPr>
          <p:spPr>
            <a:xfrm>
              <a:off x="1884005" y="991151"/>
              <a:ext cx="73157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base for MySQ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3790DEFE-203D-4D0A-9CA0-7626A873CBF6}"/>
                </a:ext>
              </a:extLst>
            </p:cNvPr>
            <p:cNvSpPr txBox="1"/>
            <p:nvPr/>
          </p:nvSpPr>
          <p:spPr>
            <a:xfrm>
              <a:off x="2719379" y="991151"/>
              <a:ext cx="73693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base for PostgreSQ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BC93411D-0B65-4E0B-8512-ABD7B118C85F}"/>
                </a:ext>
              </a:extLst>
            </p:cNvPr>
            <p:cNvSpPr txBox="1"/>
            <p:nvPr/>
          </p:nvSpPr>
          <p:spPr>
            <a:xfrm>
              <a:off x="4419290" y="991151"/>
              <a:ext cx="801089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QL Server Stretch Databas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C5A747C8-FD09-4A89-908C-2CE13D22E6F4}"/>
                </a:ext>
              </a:extLst>
            </p:cNvPr>
            <p:cNvSpPr txBox="1"/>
            <p:nvPr/>
          </p:nvSpPr>
          <p:spPr>
            <a:xfrm>
              <a:off x="6184087" y="991151"/>
              <a:ext cx="4799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able 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a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D733F6A1-409A-48D8-9BD5-54E3EF49663A}"/>
                </a:ext>
              </a:extLst>
            </p:cNvPr>
            <p:cNvSpPr txBox="1"/>
            <p:nvPr/>
          </p:nvSpPr>
          <p:spPr>
            <a:xfrm>
              <a:off x="1374319" y="991151"/>
              <a:ext cx="558285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QL Databas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B6904A36-063D-4AAB-93DF-3F23367DD7FC}"/>
                </a:ext>
              </a:extLst>
            </p:cNvPr>
            <p:cNvSpPr txBox="1"/>
            <p:nvPr/>
          </p:nvSpPr>
          <p:spPr>
            <a:xfrm>
              <a:off x="5386521" y="991151"/>
              <a:ext cx="631424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Cosmos DB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66ED72F7-CAE9-4523-9070-B1C6AA64CE7C}"/>
                </a:ext>
              </a:extLst>
            </p:cNvPr>
            <p:cNvSpPr txBox="1"/>
            <p:nvPr/>
          </p:nvSpPr>
          <p:spPr>
            <a:xfrm>
              <a:off x="6830149" y="991151"/>
              <a:ext cx="587907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Cache for Redi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6DE70A61-FFFB-4F72-A140-33398F9A1280}"/>
                </a:ext>
              </a:extLst>
            </p:cNvPr>
            <p:cNvSpPr txBox="1"/>
            <p:nvPr/>
          </p:nvSpPr>
          <p:spPr>
            <a:xfrm>
              <a:off x="7584198" y="991151"/>
              <a:ext cx="587907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QL Server on VM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6FAEDB7D-AD70-4B3E-B3FB-C1ED5A3010CA}"/>
                </a:ext>
              </a:extLst>
            </p:cNvPr>
            <p:cNvSpPr txBox="1"/>
            <p:nvPr/>
          </p:nvSpPr>
          <p:spPr>
            <a:xfrm>
              <a:off x="8338247" y="991151"/>
              <a:ext cx="73693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base for MariaDB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912C5929-30CC-473C-B8BE-F24F343C862E}"/>
                </a:ext>
              </a:extLst>
            </p:cNvPr>
            <p:cNvSpPr txBox="1"/>
            <p:nvPr/>
          </p:nvSpPr>
          <p:spPr>
            <a:xfrm>
              <a:off x="9241324" y="991151"/>
              <a:ext cx="85600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base Migration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78046F56-3E6E-4A0F-9A70-897299312BDE}"/>
                </a:ext>
              </a:extLst>
            </p:cNvPr>
            <p:cNvSpPr txBox="1"/>
            <p:nvPr/>
          </p:nvSpPr>
          <p:spPr>
            <a:xfrm>
              <a:off x="10199973" y="991151"/>
              <a:ext cx="621748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 Explor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F1AB75E7-A232-46BC-AAF3-5B9926214536}"/>
                </a:ext>
              </a:extLst>
            </p:cNvPr>
            <p:cNvSpPr txBox="1"/>
            <p:nvPr/>
          </p:nvSpPr>
          <p:spPr>
            <a:xfrm>
              <a:off x="10941293" y="991151"/>
              <a:ext cx="45405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Facto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7EA4D405-88F9-46AF-AE9F-33575CF46CB0}"/>
                </a:ext>
              </a:extLst>
            </p:cNvPr>
            <p:cNvCxnSpPr>
              <a:cxnSpLocks/>
            </p:cNvCxnSpPr>
            <p:nvPr/>
          </p:nvCxnSpPr>
          <p:spPr>
            <a:xfrm>
              <a:off x="2636308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>
              <a:extLst>
                <a:ext uri="{FF2B5EF4-FFF2-40B4-BE49-F238E27FC236}">
                  <a16:creationId xmlns:a16="http://schemas.microsoft.com/office/drawing/2014/main" id="{666D5EFC-9CC1-4FA2-890D-FF65FEED9D19}"/>
                </a:ext>
              </a:extLst>
            </p:cNvPr>
            <p:cNvCxnSpPr>
              <a:cxnSpLocks/>
            </p:cNvCxnSpPr>
            <p:nvPr/>
          </p:nvCxnSpPr>
          <p:spPr>
            <a:xfrm>
              <a:off x="3539385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>
              <a:extLst>
                <a:ext uri="{FF2B5EF4-FFF2-40B4-BE49-F238E27FC236}">
                  <a16:creationId xmlns:a16="http://schemas.microsoft.com/office/drawing/2014/main" id="{36136E72-8184-4F3E-9546-834B6A1ABE63}"/>
                </a:ext>
              </a:extLst>
            </p:cNvPr>
            <p:cNvCxnSpPr>
              <a:cxnSpLocks/>
            </p:cNvCxnSpPr>
            <p:nvPr/>
          </p:nvCxnSpPr>
          <p:spPr>
            <a:xfrm>
              <a:off x="4336219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Connector 287">
              <a:extLst>
                <a:ext uri="{FF2B5EF4-FFF2-40B4-BE49-F238E27FC236}">
                  <a16:creationId xmlns:a16="http://schemas.microsoft.com/office/drawing/2014/main" id="{8E42F103-5ED4-473E-9A3E-74D9FF9FE081}"/>
                </a:ext>
              </a:extLst>
            </p:cNvPr>
            <p:cNvCxnSpPr>
              <a:cxnSpLocks/>
            </p:cNvCxnSpPr>
            <p:nvPr/>
          </p:nvCxnSpPr>
          <p:spPr>
            <a:xfrm>
              <a:off x="5303450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6C3B2108-310E-431A-8F20-7CE845A73C79}"/>
                </a:ext>
              </a:extLst>
            </p:cNvPr>
            <p:cNvCxnSpPr>
              <a:cxnSpLocks/>
            </p:cNvCxnSpPr>
            <p:nvPr/>
          </p:nvCxnSpPr>
          <p:spPr>
            <a:xfrm>
              <a:off x="610101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E1BD59AC-EAEC-43AA-B624-0425F1252C1A}"/>
                </a:ext>
              </a:extLst>
            </p:cNvPr>
            <p:cNvCxnSpPr>
              <a:cxnSpLocks/>
            </p:cNvCxnSpPr>
            <p:nvPr/>
          </p:nvCxnSpPr>
          <p:spPr>
            <a:xfrm>
              <a:off x="6747078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>
              <a:extLst>
                <a:ext uri="{FF2B5EF4-FFF2-40B4-BE49-F238E27FC236}">
                  <a16:creationId xmlns:a16="http://schemas.microsoft.com/office/drawing/2014/main" id="{26F15676-C466-4848-8BB7-383519714DAB}"/>
                </a:ext>
              </a:extLst>
            </p:cNvPr>
            <p:cNvCxnSpPr>
              <a:cxnSpLocks/>
            </p:cNvCxnSpPr>
            <p:nvPr/>
          </p:nvCxnSpPr>
          <p:spPr>
            <a:xfrm>
              <a:off x="7501127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id="{DCDEF264-DDA1-405D-80EE-C99557E0FF83}"/>
                </a:ext>
              </a:extLst>
            </p:cNvPr>
            <p:cNvCxnSpPr>
              <a:cxnSpLocks/>
            </p:cNvCxnSpPr>
            <p:nvPr/>
          </p:nvCxnSpPr>
          <p:spPr>
            <a:xfrm>
              <a:off x="825517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id="{0BA48252-D467-43A0-AB68-B6C594325D56}"/>
                </a:ext>
              </a:extLst>
            </p:cNvPr>
            <p:cNvCxnSpPr>
              <a:cxnSpLocks/>
            </p:cNvCxnSpPr>
            <p:nvPr/>
          </p:nvCxnSpPr>
          <p:spPr>
            <a:xfrm>
              <a:off x="9158253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>
              <a:extLst>
                <a:ext uri="{FF2B5EF4-FFF2-40B4-BE49-F238E27FC236}">
                  <a16:creationId xmlns:a16="http://schemas.microsoft.com/office/drawing/2014/main" id="{37E20419-7562-4A24-BADC-4C0F4F6E26F1}"/>
                </a:ext>
              </a:extLst>
            </p:cNvPr>
            <p:cNvCxnSpPr>
              <a:cxnSpLocks/>
            </p:cNvCxnSpPr>
            <p:nvPr/>
          </p:nvCxnSpPr>
          <p:spPr>
            <a:xfrm>
              <a:off x="10180401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Connector 294">
              <a:extLst>
                <a:ext uri="{FF2B5EF4-FFF2-40B4-BE49-F238E27FC236}">
                  <a16:creationId xmlns:a16="http://schemas.microsoft.com/office/drawing/2014/main" id="{46E57FC7-F4B4-40B5-A5C1-A20CFBE3906A}"/>
                </a:ext>
              </a:extLst>
            </p:cNvPr>
            <p:cNvCxnSpPr>
              <a:cxnSpLocks/>
            </p:cNvCxnSpPr>
            <p:nvPr/>
          </p:nvCxnSpPr>
          <p:spPr>
            <a:xfrm>
              <a:off x="1085822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E8565F13-DF11-4BA3-94EE-17311E464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5702" y="697621"/>
              <a:ext cx="188181" cy="249298"/>
            </a:xfrm>
            <a:prstGeom prst="rect">
              <a:avLst/>
            </a:prstGeom>
          </p:spPr>
        </p:pic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id="{1E3585AC-2F70-4410-AA19-2630F43D7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87574" y="682354"/>
              <a:ext cx="200544" cy="264565"/>
            </a:xfrm>
            <a:prstGeom prst="rect">
              <a:avLst/>
            </a:prstGeom>
          </p:spPr>
        </p:pic>
        <p:pic>
          <p:nvPicPr>
            <p:cNvPr id="298" name="Graphic 297">
              <a:extLst>
                <a:ext uri="{FF2B5EF4-FFF2-40B4-BE49-F238E27FC236}">
                  <a16:creationId xmlns:a16="http://schemas.microsoft.com/office/drawing/2014/main" id="{8E8E6268-B7D7-404B-A5FC-5A8AF785C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86050" y="680853"/>
              <a:ext cx="267568" cy="267568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0FA63378-5373-449A-87D9-17684EAD2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567128" y="688599"/>
              <a:ext cx="270211" cy="248596"/>
            </a:xfrm>
            <a:prstGeom prst="rect">
              <a:avLst/>
            </a:prstGeom>
          </p:spPr>
        </p:pic>
        <p:pic>
          <p:nvPicPr>
            <p:cNvPr id="299" name="Graphic 298" descr="Table Storage">
              <a:extLst>
                <a:ext uri="{FF2B5EF4-FFF2-40B4-BE49-F238E27FC236}">
                  <a16:creationId xmlns:a16="http://schemas.microsoft.com/office/drawing/2014/main" id="{8AC2DE9F-638F-43F8-B3A4-1DE97F2CA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287992" y="680853"/>
              <a:ext cx="272111" cy="272111"/>
            </a:xfrm>
            <a:prstGeom prst="rect">
              <a:avLst/>
            </a:prstGeom>
          </p:spPr>
        </p:pic>
        <p:pic>
          <p:nvPicPr>
            <p:cNvPr id="198" name="Picture 197">
              <a:extLst>
                <a:ext uri="{FF2B5EF4-FFF2-40B4-BE49-F238E27FC236}">
                  <a16:creationId xmlns:a16="http://schemas.microsoft.com/office/drawing/2014/main" id="{CDF29797-4272-4FB9-B064-D5CA6CD56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982989" y="711731"/>
              <a:ext cx="282227" cy="235188"/>
            </a:xfrm>
            <a:prstGeom prst="rect">
              <a:avLst/>
            </a:prstGeom>
          </p:spPr>
        </p:pic>
        <p:pic>
          <p:nvPicPr>
            <p:cNvPr id="200" name="Picture 199">
              <a:extLst>
                <a:ext uri="{FF2B5EF4-FFF2-40B4-BE49-F238E27FC236}">
                  <a16:creationId xmlns:a16="http://schemas.microsoft.com/office/drawing/2014/main" id="{2AB7AABC-A07F-4AD6-B9C8-22E58CE05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754789" y="701926"/>
              <a:ext cx="246724" cy="246724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23B7C691-136C-446F-A20B-F01942949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8614842" y="701926"/>
              <a:ext cx="183745" cy="244993"/>
            </a:xfrm>
            <a:prstGeom prst="rect">
              <a:avLst/>
            </a:prstGeom>
          </p:spPr>
        </p:pic>
        <p:pic>
          <p:nvPicPr>
            <p:cNvPr id="206" name="Picture 205">
              <a:extLst>
                <a:ext uri="{FF2B5EF4-FFF2-40B4-BE49-F238E27FC236}">
                  <a16:creationId xmlns:a16="http://schemas.microsoft.com/office/drawing/2014/main" id="{551F1E37-8793-4F49-A5D5-DF782C1C6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9544677" y="697620"/>
              <a:ext cx="249300" cy="249299"/>
            </a:xfrm>
            <a:prstGeom prst="rect">
              <a:avLst/>
            </a:prstGeom>
          </p:spPr>
        </p:pic>
        <p:pic>
          <p:nvPicPr>
            <p:cNvPr id="209" name="Picture 208">
              <a:extLst>
                <a:ext uri="{FF2B5EF4-FFF2-40B4-BE49-F238E27FC236}">
                  <a16:creationId xmlns:a16="http://schemas.microsoft.com/office/drawing/2014/main" id="{1F8684E2-1149-4F5C-9984-7D21C0EB6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10386198" y="697620"/>
              <a:ext cx="249299" cy="249299"/>
            </a:xfrm>
            <a:prstGeom prst="rect">
              <a:avLst/>
            </a:prstGeom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18F2503B-8536-405C-B7BE-E3916F8D4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11047131" y="694816"/>
              <a:ext cx="242380" cy="242379"/>
            </a:xfrm>
            <a:prstGeom prst="rect">
              <a:avLst/>
            </a:prstGeom>
          </p:spPr>
        </p:pic>
        <p:pic>
          <p:nvPicPr>
            <p:cNvPr id="243" name="Picture 242">
              <a:extLst>
                <a:ext uri="{FF2B5EF4-FFF2-40B4-BE49-F238E27FC236}">
                  <a16:creationId xmlns:a16="http://schemas.microsoft.com/office/drawing/2014/main" id="{1716776A-1676-4CFF-BE4B-1599D8F1CE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1718787" y="680853"/>
              <a:ext cx="246888" cy="246888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A98FC500-97ED-4193-8DE4-28BE3F85309C}"/>
                </a:ext>
              </a:extLst>
            </p:cNvPr>
            <p:cNvSpPr txBox="1"/>
            <p:nvPr/>
          </p:nvSpPr>
          <p:spPr>
            <a:xfrm>
              <a:off x="11532486" y="991151"/>
              <a:ext cx="61949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4977">
                <a:lnSpc>
                  <a:spcPct val="90000"/>
                </a:lnSpc>
                <a:defRPr sz="700"/>
              </a:lvl1pPr>
            </a:lstStyle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QL Database Ed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87613F74-3DC1-4810-B6A5-FCFFCE0E8220}"/>
                </a:ext>
              </a:extLst>
            </p:cNvPr>
            <p:cNvCxnSpPr>
              <a:cxnSpLocks/>
            </p:cNvCxnSpPr>
            <p:nvPr/>
          </p:nvCxnSpPr>
          <p:spPr>
            <a:xfrm>
              <a:off x="11449187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1" name="Picture 250">
              <a:extLst>
                <a:ext uri="{FF2B5EF4-FFF2-40B4-BE49-F238E27FC236}">
                  <a16:creationId xmlns:a16="http://schemas.microsoft.com/office/drawing/2014/main" id="{49A5F561-6344-465F-9238-07B2071891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3812562" y="622677"/>
              <a:ext cx="256032" cy="256032"/>
            </a:xfrm>
            <a:prstGeom prst="rect">
              <a:avLst/>
            </a:prstGeom>
          </p:spPr>
        </p:pic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0F113D67-47DE-4648-A015-A692CF165962}"/>
                </a:ext>
              </a:extLst>
            </p:cNvPr>
            <p:cNvSpPr txBox="1"/>
            <p:nvPr/>
          </p:nvSpPr>
          <p:spPr>
            <a:xfrm>
              <a:off x="3523054" y="937417"/>
              <a:ext cx="835049" cy="2908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14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/>
                </a:defRPr>
              </a:lvl1pPr>
            </a:lstStyle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ynapse Analytics (formerly SQL DW)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4C2A8A67-4840-472D-8A8D-F86AD1CF0F49}"/>
              </a:ext>
            </a:extLst>
          </p:cNvPr>
          <p:cNvGrpSpPr/>
          <p:nvPr/>
        </p:nvGrpSpPr>
        <p:grpSpPr>
          <a:xfrm>
            <a:off x="303282" y="3895859"/>
            <a:ext cx="11887025" cy="655389"/>
            <a:chOff x="304975" y="5621942"/>
            <a:chExt cx="11887025" cy="655389"/>
          </a:xfrm>
        </p:grpSpPr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B9B8D54A-E7C6-49F3-BBCF-90D926730A0A}"/>
                </a:ext>
              </a:extLst>
            </p:cNvPr>
            <p:cNvSpPr/>
            <p:nvPr/>
          </p:nvSpPr>
          <p:spPr bwMode="auto">
            <a:xfrm>
              <a:off x="1402080" y="562194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7EC57ECF-0766-448B-BC13-29B981BE86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61864" y="5621942"/>
              <a:ext cx="1" cy="647096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980F0BB0-376E-49B2-B5BB-906ED7BF5210}"/>
                </a:ext>
              </a:extLst>
            </p:cNvPr>
            <p:cNvSpPr txBox="1"/>
            <p:nvPr/>
          </p:nvSpPr>
          <p:spPr>
            <a:xfrm>
              <a:off x="1577013" y="6003144"/>
              <a:ext cx="49052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US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overnmen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162">
              <a:extLst>
                <a:ext uri="{FF2B5EF4-FFF2-40B4-BE49-F238E27FC236}">
                  <a16:creationId xmlns:a16="http://schemas.microsoft.com/office/drawing/2014/main" id="{BB45C48D-43A3-4CEF-83B1-61A967BC5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420" y="5756987"/>
              <a:ext cx="267704" cy="173512"/>
            </a:xfrm>
            <a:custGeom>
              <a:avLst/>
              <a:gdLst>
                <a:gd name="connsiteX0" fmla="*/ 3730592 w 6186123"/>
                <a:gd name="connsiteY0" fmla="*/ 704234 h 4009506"/>
                <a:gd name="connsiteX1" fmla="*/ 4905742 w 6186123"/>
                <a:gd name="connsiteY1" fmla="*/ 1421442 h 4009506"/>
                <a:gd name="connsiteX2" fmla="*/ 5026805 w 6186123"/>
                <a:gd name="connsiteY2" fmla="*/ 1500420 h 4009506"/>
                <a:gd name="connsiteX3" fmla="*/ 6025568 w 6186123"/>
                <a:gd name="connsiteY3" fmla="*/ 2138323 h 4009506"/>
                <a:gd name="connsiteX4" fmla="*/ 5393018 w 6186123"/>
                <a:gd name="connsiteY4" fmla="*/ 3921415 h 4009506"/>
                <a:gd name="connsiteX5" fmla="*/ 4896663 w 6186123"/>
                <a:gd name="connsiteY5" fmla="*/ 4009506 h 4009506"/>
                <a:gd name="connsiteX6" fmla="*/ 3667881 w 6186123"/>
                <a:gd name="connsiteY6" fmla="*/ 4009506 h 4009506"/>
                <a:gd name="connsiteX7" fmla="*/ 2433046 w 6186123"/>
                <a:gd name="connsiteY7" fmla="*/ 4009506 h 4009506"/>
                <a:gd name="connsiteX8" fmla="*/ 1376778 w 6186123"/>
                <a:gd name="connsiteY8" fmla="*/ 3274399 h 4009506"/>
                <a:gd name="connsiteX9" fmla="*/ 1328353 w 6186123"/>
                <a:gd name="connsiteY9" fmla="*/ 3098216 h 4009506"/>
                <a:gd name="connsiteX10" fmla="*/ 1367698 w 6186123"/>
                <a:gd name="connsiteY10" fmla="*/ 3049614 h 4009506"/>
                <a:gd name="connsiteX11" fmla="*/ 1410070 w 6186123"/>
                <a:gd name="connsiteY11" fmla="*/ 3049614 h 4009506"/>
                <a:gd name="connsiteX12" fmla="*/ 3110995 w 6186123"/>
                <a:gd name="connsiteY12" fmla="*/ 3046576 h 4009506"/>
                <a:gd name="connsiteX13" fmla="*/ 3244163 w 6186123"/>
                <a:gd name="connsiteY13" fmla="*/ 3101253 h 4009506"/>
                <a:gd name="connsiteX14" fmla="*/ 3934218 w 6186123"/>
                <a:gd name="connsiteY14" fmla="*/ 3234909 h 4009506"/>
                <a:gd name="connsiteX15" fmla="*/ 4297405 w 6186123"/>
                <a:gd name="connsiteY15" fmla="*/ 2627383 h 4009506"/>
                <a:gd name="connsiteX16" fmla="*/ 3897899 w 6186123"/>
                <a:gd name="connsiteY16" fmla="*/ 2089721 h 4009506"/>
                <a:gd name="connsiteX17" fmla="*/ 3235083 w 6186123"/>
                <a:gd name="connsiteY17" fmla="*/ 2238565 h 4009506"/>
                <a:gd name="connsiteX18" fmla="*/ 3126127 w 6186123"/>
                <a:gd name="connsiteY18" fmla="*/ 2287168 h 4009506"/>
                <a:gd name="connsiteX19" fmla="*/ 1594690 w 6186123"/>
                <a:gd name="connsiteY19" fmla="*/ 2284130 h 4009506"/>
                <a:gd name="connsiteX20" fmla="*/ 1564424 w 6186123"/>
                <a:gd name="connsiteY20" fmla="*/ 2284130 h 4009506"/>
                <a:gd name="connsiteX21" fmla="*/ 1543238 w 6186123"/>
                <a:gd name="connsiteY21" fmla="*/ 2235528 h 4009506"/>
                <a:gd name="connsiteX22" fmla="*/ 1861027 w 6186123"/>
                <a:gd name="connsiteY22" fmla="*/ 1949990 h 4009506"/>
                <a:gd name="connsiteX23" fmla="*/ 2248426 w 6186123"/>
                <a:gd name="connsiteY23" fmla="*/ 1816334 h 4009506"/>
                <a:gd name="connsiteX24" fmla="*/ 2318037 w 6186123"/>
                <a:gd name="connsiteY24" fmla="*/ 1746469 h 4009506"/>
                <a:gd name="connsiteX25" fmla="*/ 3395491 w 6186123"/>
                <a:gd name="connsiteY25" fmla="*/ 734936 h 4009506"/>
                <a:gd name="connsiteX26" fmla="*/ 3730592 w 6186123"/>
                <a:gd name="connsiteY26" fmla="*/ 704234 h 4009506"/>
                <a:gd name="connsiteX27" fmla="*/ 2300746 w 6186123"/>
                <a:gd name="connsiteY27" fmla="*/ 8 h 4009506"/>
                <a:gd name="connsiteX28" fmla="*/ 3310471 w 6186123"/>
                <a:gd name="connsiteY28" fmla="*/ 548954 h 4009506"/>
                <a:gd name="connsiteX29" fmla="*/ 3286263 w 6186123"/>
                <a:gd name="connsiteY29" fmla="*/ 615813 h 4009506"/>
                <a:gd name="connsiteX30" fmla="*/ 3098646 w 6186123"/>
                <a:gd name="connsiteY30" fmla="*/ 679632 h 4009506"/>
                <a:gd name="connsiteX31" fmla="*/ 2980630 w 6186123"/>
                <a:gd name="connsiteY31" fmla="*/ 652281 h 4009506"/>
                <a:gd name="connsiteX32" fmla="*/ 2281608 w 6186123"/>
                <a:gd name="connsiteY32" fmla="*/ 321028 h 4009506"/>
                <a:gd name="connsiteX33" fmla="*/ 1522065 w 6186123"/>
                <a:gd name="connsiteY33" fmla="*/ 706983 h 4009506"/>
                <a:gd name="connsiteX34" fmla="*/ 1367735 w 6186123"/>
                <a:gd name="connsiteY34" fmla="*/ 1041275 h 4009506"/>
                <a:gd name="connsiteX35" fmla="*/ 1279979 w 6186123"/>
                <a:gd name="connsiteY35" fmla="*/ 1108133 h 4009506"/>
                <a:gd name="connsiteX36" fmla="*/ 889616 w 6186123"/>
                <a:gd name="connsiteY36" fmla="*/ 1120289 h 4009506"/>
                <a:gd name="connsiteX37" fmla="*/ 323741 w 6186123"/>
                <a:gd name="connsiteY37" fmla="*/ 1828380 h 4009506"/>
                <a:gd name="connsiteX38" fmla="*/ 910798 w 6186123"/>
                <a:gd name="connsiteY38" fmla="*/ 2500003 h 4009506"/>
                <a:gd name="connsiteX39" fmla="*/ 1053024 w 6186123"/>
                <a:gd name="connsiteY39" fmla="*/ 2509120 h 4009506"/>
                <a:gd name="connsiteX40" fmla="*/ 2124252 w 6186123"/>
                <a:gd name="connsiteY40" fmla="*/ 2509120 h 4009506"/>
                <a:gd name="connsiteX41" fmla="*/ 3243898 w 6186123"/>
                <a:gd name="connsiteY41" fmla="*/ 2512159 h 4009506"/>
                <a:gd name="connsiteX42" fmla="*/ 3346784 w 6186123"/>
                <a:gd name="connsiteY42" fmla="*/ 2457457 h 4009506"/>
                <a:gd name="connsiteX43" fmla="*/ 3800694 w 6186123"/>
                <a:gd name="connsiteY43" fmla="*/ 2293350 h 4009506"/>
                <a:gd name="connsiteX44" fmla="*/ 4085145 w 6186123"/>
                <a:gd name="connsiteY44" fmla="*/ 2688422 h 4009506"/>
                <a:gd name="connsiteX45" fmla="*/ 3776486 w 6186123"/>
                <a:gd name="connsiteY45" fmla="*/ 3068299 h 4009506"/>
                <a:gd name="connsiteX46" fmla="*/ 3358888 w 6186123"/>
                <a:gd name="connsiteY46" fmla="*/ 2904192 h 4009506"/>
                <a:gd name="connsiteX47" fmla="*/ 3240872 w 6186123"/>
                <a:gd name="connsiteY47" fmla="*/ 2843412 h 4009506"/>
                <a:gd name="connsiteX48" fmla="*/ 1062102 w 6186123"/>
                <a:gd name="connsiteY48" fmla="*/ 2843412 h 4009506"/>
                <a:gd name="connsiteX49" fmla="*/ 196646 w 6186123"/>
                <a:gd name="connsiteY49" fmla="*/ 2417949 h 4009506"/>
                <a:gd name="connsiteX50" fmla="*/ 886590 w 6186123"/>
                <a:gd name="connsiteY50" fmla="*/ 795115 h 4009506"/>
                <a:gd name="connsiteX51" fmla="*/ 1059076 w 6186123"/>
                <a:gd name="connsiteY51" fmla="*/ 785998 h 4009506"/>
                <a:gd name="connsiteX52" fmla="*/ 1134728 w 6186123"/>
                <a:gd name="connsiteY52" fmla="*/ 737373 h 4009506"/>
                <a:gd name="connsiteX53" fmla="*/ 2118200 w 6186123"/>
                <a:gd name="connsiteY53" fmla="*/ 11048 h 4009506"/>
                <a:gd name="connsiteX54" fmla="*/ 2300746 w 6186123"/>
                <a:gd name="connsiteY54" fmla="*/ 8 h 400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186123" h="4009506">
                  <a:moveTo>
                    <a:pt x="3730592" y="704234"/>
                  </a:moveTo>
                  <a:cubicBezTo>
                    <a:pt x="4211053" y="720045"/>
                    <a:pt x="4662293" y="989528"/>
                    <a:pt x="4905742" y="1421442"/>
                  </a:cubicBezTo>
                  <a:cubicBezTo>
                    <a:pt x="4932981" y="1476119"/>
                    <a:pt x="4969300" y="1497383"/>
                    <a:pt x="5026805" y="1500420"/>
                  </a:cubicBezTo>
                  <a:cubicBezTo>
                    <a:pt x="5468682" y="1539910"/>
                    <a:pt x="5801603" y="1755582"/>
                    <a:pt x="6025568" y="2138323"/>
                  </a:cubicBezTo>
                  <a:cubicBezTo>
                    <a:pt x="6400861" y="2782302"/>
                    <a:pt x="6089125" y="3657141"/>
                    <a:pt x="5393018" y="3921415"/>
                  </a:cubicBezTo>
                  <a:cubicBezTo>
                    <a:pt x="5232610" y="3982167"/>
                    <a:pt x="5066150" y="4009506"/>
                    <a:pt x="4896663" y="4009506"/>
                  </a:cubicBezTo>
                  <a:cubicBezTo>
                    <a:pt x="4488078" y="4009506"/>
                    <a:pt x="4076466" y="4009506"/>
                    <a:pt x="3667881" y="4009506"/>
                  </a:cubicBezTo>
                  <a:cubicBezTo>
                    <a:pt x="3256269" y="4009506"/>
                    <a:pt x="2844658" y="4009506"/>
                    <a:pt x="2433046" y="4009506"/>
                  </a:cubicBezTo>
                  <a:cubicBezTo>
                    <a:pt x="1948797" y="4009506"/>
                    <a:pt x="1543238" y="3730044"/>
                    <a:pt x="1376778" y="3274399"/>
                  </a:cubicBezTo>
                  <a:cubicBezTo>
                    <a:pt x="1355592" y="3216684"/>
                    <a:pt x="1343486" y="3158969"/>
                    <a:pt x="1328353" y="3098216"/>
                  </a:cubicBezTo>
                  <a:cubicBezTo>
                    <a:pt x="1319273" y="3064802"/>
                    <a:pt x="1334406" y="3049614"/>
                    <a:pt x="1367698" y="3049614"/>
                  </a:cubicBezTo>
                  <a:cubicBezTo>
                    <a:pt x="1382831" y="3049614"/>
                    <a:pt x="1394937" y="3049614"/>
                    <a:pt x="1410070" y="3049614"/>
                  </a:cubicBezTo>
                  <a:cubicBezTo>
                    <a:pt x="1976036" y="3049614"/>
                    <a:pt x="2545028" y="3049614"/>
                    <a:pt x="3110995" y="3046576"/>
                  </a:cubicBezTo>
                  <a:cubicBezTo>
                    <a:pt x="3165473" y="3046576"/>
                    <a:pt x="3204818" y="3061764"/>
                    <a:pt x="3244163" y="3101253"/>
                  </a:cubicBezTo>
                  <a:cubicBezTo>
                    <a:pt x="3425756" y="3289587"/>
                    <a:pt x="3698146" y="3341227"/>
                    <a:pt x="3934218" y="3234909"/>
                  </a:cubicBezTo>
                  <a:cubicBezTo>
                    <a:pt x="4167263" y="3128592"/>
                    <a:pt x="4318590" y="2885581"/>
                    <a:pt x="4297405" y="2627383"/>
                  </a:cubicBezTo>
                  <a:cubicBezTo>
                    <a:pt x="4276219" y="2369184"/>
                    <a:pt x="4143050" y="2180850"/>
                    <a:pt x="3897899" y="2089721"/>
                  </a:cubicBezTo>
                  <a:cubicBezTo>
                    <a:pt x="3652748" y="1998592"/>
                    <a:pt x="3425756" y="2050232"/>
                    <a:pt x="3235083" y="2238565"/>
                  </a:cubicBezTo>
                  <a:cubicBezTo>
                    <a:pt x="3204818" y="2268942"/>
                    <a:pt x="3171526" y="2287168"/>
                    <a:pt x="3126127" y="2287168"/>
                  </a:cubicBezTo>
                  <a:cubicBezTo>
                    <a:pt x="2617666" y="2284130"/>
                    <a:pt x="2106178" y="2284130"/>
                    <a:pt x="1594690" y="2284130"/>
                  </a:cubicBezTo>
                  <a:cubicBezTo>
                    <a:pt x="1585610" y="2284130"/>
                    <a:pt x="1576531" y="2284130"/>
                    <a:pt x="1564424" y="2284130"/>
                  </a:cubicBezTo>
                  <a:cubicBezTo>
                    <a:pt x="1522053" y="2284130"/>
                    <a:pt x="1515999" y="2268942"/>
                    <a:pt x="1543238" y="2235528"/>
                  </a:cubicBezTo>
                  <a:cubicBezTo>
                    <a:pt x="1631009" y="2120098"/>
                    <a:pt x="1736938" y="2022893"/>
                    <a:pt x="1861027" y="1949990"/>
                  </a:cubicBezTo>
                  <a:cubicBezTo>
                    <a:pt x="1982089" y="1883162"/>
                    <a:pt x="2109204" y="1831522"/>
                    <a:pt x="2248426" y="1816334"/>
                  </a:cubicBezTo>
                  <a:cubicBezTo>
                    <a:pt x="2290798" y="1813297"/>
                    <a:pt x="2305931" y="1785958"/>
                    <a:pt x="2318037" y="1746469"/>
                  </a:cubicBezTo>
                  <a:cubicBezTo>
                    <a:pt x="2484497" y="1202732"/>
                    <a:pt x="2841631" y="859479"/>
                    <a:pt x="3395491" y="734936"/>
                  </a:cubicBezTo>
                  <a:cubicBezTo>
                    <a:pt x="3507284" y="710446"/>
                    <a:pt x="3619716" y="700585"/>
                    <a:pt x="3730592" y="704234"/>
                  </a:cubicBezTo>
                  <a:close/>
                  <a:moveTo>
                    <a:pt x="2300746" y="8"/>
                  </a:moveTo>
                  <a:cubicBezTo>
                    <a:pt x="2715707" y="1504"/>
                    <a:pt x="3053634" y="192630"/>
                    <a:pt x="3310471" y="548954"/>
                  </a:cubicBezTo>
                  <a:cubicBezTo>
                    <a:pt x="3337706" y="588461"/>
                    <a:pt x="3334680" y="603657"/>
                    <a:pt x="3286263" y="615813"/>
                  </a:cubicBezTo>
                  <a:cubicBezTo>
                    <a:pt x="3222715" y="627969"/>
                    <a:pt x="3159168" y="649242"/>
                    <a:pt x="3098646" y="679632"/>
                  </a:cubicBezTo>
                  <a:cubicBezTo>
                    <a:pt x="3050229" y="703944"/>
                    <a:pt x="3016943" y="697866"/>
                    <a:pt x="2980630" y="652281"/>
                  </a:cubicBezTo>
                  <a:cubicBezTo>
                    <a:pt x="2799066" y="436511"/>
                    <a:pt x="2560006" y="321028"/>
                    <a:pt x="2281608" y="321028"/>
                  </a:cubicBezTo>
                  <a:cubicBezTo>
                    <a:pt x="1966897" y="321028"/>
                    <a:pt x="1712707" y="451706"/>
                    <a:pt x="1522065" y="706983"/>
                  </a:cubicBezTo>
                  <a:cubicBezTo>
                    <a:pt x="1446413" y="807271"/>
                    <a:pt x="1394970" y="916675"/>
                    <a:pt x="1367735" y="1041275"/>
                  </a:cubicBezTo>
                  <a:cubicBezTo>
                    <a:pt x="1358657" y="1092938"/>
                    <a:pt x="1331422" y="1108133"/>
                    <a:pt x="1279979" y="1108133"/>
                  </a:cubicBezTo>
                  <a:cubicBezTo>
                    <a:pt x="1149858" y="1108133"/>
                    <a:pt x="1019737" y="1095977"/>
                    <a:pt x="889616" y="1120289"/>
                  </a:cubicBezTo>
                  <a:cubicBezTo>
                    <a:pt x="553722" y="1181070"/>
                    <a:pt x="317689" y="1472815"/>
                    <a:pt x="323741" y="1828380"/>
                  </a:cubicBezTo>
                  <a:cubicBezTo>
                    <a:pt x="326767" y="2165711"/>
                    <a:pt x="574905" y="2448340"/>
                    <a:pt x="910798" y="2500003"/>
                  </a:cubicBezTo>
                  <a:cubicBezTo>
                    <a:pt x="956189" y="2506081"/>
                    <a:pt x="1004607" y="2509120"/>
                    <a:pt x="1053024" y="2509120"/>
                  </a:cubicBezTo>
                  <a:cubicBezTo>
                    <a:pt x="1410100" y="2509120"/>
                    <a:pt x="1767176" y="2509120"/>
                    <a:pt x="2124252" y="2509120"/>
                  </a:cubicBezTo>
                  <a:cubicBezTo>
                    <a:pt x="2499485" y="2509120"/>
                    <a:pt x="2871691" y="2509120"/>
                    <a:pt x="3243898" y="2512159"/>
                  </a:cubicBezTo>
                  <a:cubicBezTo>
                    <a:pt x="3289289" y="2512159"/>
                    <a:pt x="3319550" y="2500003"/>
                    <a:pt x="3346784" y="2457457"/>
                  </a:cubicBezTo>
                  <a:cubicBezTo>
                    <a:pt x="3446644" y="2302467"/>
                    <a:pt x="3631235" y="2238647"/>
                    <a:pt x="3800694" y="2293350"/>
                  </a:cubicBezTo>
                  <a:cubicBezTo>
                    <a:pt x="3973180" y="2348052"/>
                    <a:pt x="4094223" y="2515198"/>
                    <a:pt x="4085145" y="2688422"/>
                  </a:cubicBezTo>
                  <a:cubicBezTo>
                    <a:pt x="4079093" y="2870763"/>
                    <a:pt x="3955024" y="3022714"/>
                    <a:pt x="3776486" y="3068299"/>
                  </a:cubicBezTo>
                  <a:cubicBezTo>
                    <a:pt x="3622156" y="3107806"/>
                    <a:pt x="3449670" y="3043987"/>
                    <a:pt x="3358888" y="2904192"/>
                  </a:cubicBezTo>
                  <a:cubicBezTo>
                    <a:pt x="3328628" y="2855568"/>
                    <a:pt x="3292315" y="2843412"/>
                    <a:pt x="3240872" y="2843412"/>
                  </a:cubicBezTo>
                  <a:cubicBezTo>
                    <a:pt x="2514615" y="2843412"/>
                    <a:pt x="1788359" y="2846451"/>
                    <a:pt x="1062102" y="2843412"/>
                  </a:cubicBezTo>
                  <a:cubicBezTo>
                    <a:pt x="705026" y="2843412"/>
                    <a:pt x="408471" y="2709695"/>
                    <a:pt x="196646" y="2417949"/>
                  </a:cubicBezTo>
                  <a:cubicBezTo>
                    <a:pt x="-260290" y="1797990"/>
                    <a:pt x="124021" y="895402"/>
                    <a:pt x="886590" y="795115"/>
                  </a:cubicBezTo>
                  <a:cubicBezTo>
                    <a:pt x="944085" y="785998"/>
                    <a:pt x="1001581" y="782959"/>
                    <a:pt x="1059076" y="785998"/>
                  </a:cubicBezTo>
                  <a:cubicBezTo>
                    <a:pt x="1098415" y="785998"/>
                    <a:pt x="1116571" y="773842"/>
                    <a:pt x="1134728" y="737373"/>
                  </a:cubicBezTo>
                  <a:cubicBezTo>
                    <a:pt x="1334448" y="324067"/>
                    <a:pt x="1661264" y="68790"/>
                    <a:pt x="2118200" y="11048"/>
                  </a:cubicBezTo>
                  <a:cubicBezTo>
                    <a:pt x="2180613" y="3451"/>
                    <a:pt x="2241465" y="-205"/>
                    <a:pt x="230074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3A2EBE06-BC07-438D-A796-F3EB07652442}"/>
                </a:ext>
              </a:extLst>
            </p:cNvPr>
            <p:cNvSpPr txBox="1"/>
            <p:nvPr/>
          </p:nvSpPr>
          <p:spPr>
            <a:xfrm>
              <a:off x="2432095" y="6003144"/>
              <a:ext cx="354264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rman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162">
              <a:extLst>
                <a:ext uri="{FF2B5EF4-FFF2-40B4-BE49-F238E27FC236}">
                  <a16:creationId xmlns:a16="http://schemas.microsoft.com/office/drawing/2014/main" id="{37B02EFC-01FF-41D5-A322-F181CE631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374" y="5756987"/>
              <a:ext cx="267706" cy="173512"/>
            </a:xfrm>
            <a:custGeom>
              <a:avLst/>
              <a:gdLst>
                <a:gd name="connsiteX0" fmla="*/ 3730592 w 6186123"/>
                <a:gd name="connsiteY0" fmla="*/ 704234 h 4009506"/>
                <a:gd name="connsiteX1" fmla="*/ 4905742 w 6186123"/>
                <a:gd name="connsiteY1" fmla="*/ 1421442 h 4009506"/>
                <a:gd name="connsiteX2" fmla="*/ 5026805 w 6186123"/>
                <a:gd name="connsiteY2" fmla="*/ 1500420 h 4009506"/>
                <a:gd name="connsiteX3" fmla="*/ 6025568 w 6186123"/>
                <a:gd name="connsiteY3" fmla="*/ 2138323 h 4009506"/>
                <a:gd name="connsiteX4" fmla="*/ 5393018 w 6186123"/>
                <a:gd name="connsiteY4" fmla="*/ 3921415 h 4009506"/>
                <a:gd name="connsiteX5" fmla="*/ 4896663 w 6186123"/>
                <a:gd name="connsiteY5" fmla="*/ 4009506 h 4009506"/>
                <a:gd name="connsiteX6" fmla="*/ 3667881 w 6186123"/>
                <a:gd name="connsiteY6" fmla="*/ 4009506 h 4009506"/>
                <a:gd name="connsiteX7" fmla="*/ 2433046 w 6186123"/>
                <a:gd name="connsiteY7" fmla="*/ 4009506 h 4009506"/>
                <a:gd name="connsiteX8" fmla="*/ 1376778 w 6186123"/>
                <a:gd name="connsiteY8" fmla="*/ 3274399 h 4009506"/>
                <a:gd name="connsiteX9" fmla="*/ 1328353 w 6186123"/>
                <a:gd name="connsiteY9" fmla="*/ 3098216 h 4009506"/>
                <a:gd name="connsiteX10" fmla="*/ 1367698 w 6186123"/>
                <a:gd name="connsiteY10" fmla="*/ 3049614 h 4009506"/>
                <a:gd name="connsiteX11" fmla="*/ 1410070 w 6186123"/>
                <a:gd name="connsiteY11" fmla="*/ 3049614 h 4009506"/>
                <a:gd name="connsiteX12" fmla="*/ 3110995 w 6186123"/>
                <a:gd name="connsiteY12" fmla="*/ 3046576 h 4009506"/>
                <a:gd name="connsiteX13" fmla="*/ 3244163 w 6186123"/>
                <a:gd name="connsiteY13" fmla="*/ 3101253 h 4009506"/>
                <a:gd name="connsiteX14" fmla="*/ 3934218 w 6186123"/>
                <a:gd name="connsiteY14" fmla="*/ 3234909 h 4009506"/>
                <a:gd name="connsiteX15" fmla="*/ 4297405 w 6186123"/>
                <a:gd name="connsiteY15" fmla="*/ 2627383 h 4009506"/>
                <a:gd name="connsiteX16" fmla="*/ 3897899 w 6186123"/>
                <a:gd name="connsiteY16" fmla="*/ 2089721 h 4009506"/>
                <a:gd name="connsiteX17" fmla="*/ 3235083 w 6186123"/>
                <a:gd name="connsiteY17" fmla="*/ 2238565 h 4009506"/>
                <a:gd name="connsiteX18" fmla="*/ 3126127 w 6186123"/>
                <a:gd name="connsiteY18" fmla="*/ 2287168 h 4009506"/>
                <a:gd name="connsiteX19" fmla="*/ 1594690 w 6186123"/>
                <a:gd name="connsiteY19" fmla="*/ 2284130 h 4009506"/>
                <a:gd name="connsiteX20" fmla="*/ 1564424 w 6186123"/>
                <a:gd name="connsiteY20" fmla="*/ 2284130 h 4009506"/>
                <a:gd name="connsiteX21" fmla="*/ 1543238 w 6186123"/>
                <a:gd name="connsiteY21" fmla="*/ 2235528 h 4009506"/>
                <a:gd name="connsiteX22" fmla="*/ 1861027 w 6186123"/>
                <a:gd name="connsiteY22" fmla="*/ 1949990 h 4009506"/>
                <a:gd name="connsiteX23" fmla="*/ 2248426 w 6186123"/>
                <a:gd name="connsiteY23" fmla="*/ 1816334 h 4009506"/>
                <a:gd name="connsiteX24" fmla="*/ 2318037 w 6186123"/>
                <a:gd name="connsiteY24" fmla="*/ 1746469 h 4009506"/>
                <a:gd name="connsiteX25" fmla="*/ 3395491 w 6186123"/>
                <a:gd name="connsiteY25" fmla="*/ 734936 h 4009506"/>
                <a:gd name="connsiteX26" fmla="*/ 3730592 w 6186123"/>
                <a:gd name="connsiteY26" fmla="*/ 704234 h 4009506"/>
                <a:gd name="connsiteX27" fmla="*/ 2300746 w 6186123"/>
                <a:gd name="connsiteY27" fmla="*/ 8 h 4009506"/>
                <a:gd name="connsiteX28" fmla="*/ 3310471 w 6186123"/>
                <a:gd name="connsiteY28" fmla="*/ 548954 h 4009506"/>
                <a:gd name="connsiteX29" fmla="*/ 3286263 w 6186123"/>
                <a:gd name="connsiteY29" fmla="*/ 615813 h 4009506"/>
                <a:gd name="connsiteX30" fmla="*/ 3098646 w 6186123"/>
                <a:gd name="connsiteY30" fmla="*/ 679632 h 4009506"/>
                <a:gd name="connsiteX31" fmla="*/ 2980630 w 6186123"/>
                <a:gd name="connsiteY31" fmla="*/ 652281 h 4009506"/>
                <a:gd name="connsiteX32" fmla="*/ 2281608 w 6186123"/>
                <a:gd name="connsiteY32" fmla="*/ 321028 h 4009506"/>
                <a:gd name="connsiteX33" fmla="*/ 1522065 w 6186123"/>
                <a:gd name="connsiteY33" fmla="*/ 706983 h 4009506"/>
                <a:gd name="connsiteX34" fmla="*/ 1367735 w 6186123"/>
                <a:gd name="connsiteY34" fmla="*/ 1041275 h 4009506"/>
                <a:gd name="connsiteX35" fmla="*/ 1279979 w 6186123"/>
                <a:gd name="connsiteY35" fmla="*/ 1108133 h 4009506"/>
                <a:gd name="connsiteX36" fmla="*/ 889616 w 6186123"/>
                <a:gd name="connsiteY36" fmla="*/ 1120289 h 4009506"/>
                <a:gd name="connsiteX37" fmla="*/ 323741 w 6186123"/>
                <a:gd name="connsiteY37" fmla="*/ 1828380 h 4009506"/>
                <a:gd name="connsiteX38" fmla="*/ 910798 w 6186123"/>
                <a:gd name="connsiteY38" fmla="*/ 2500003 h 4009506"/>
                <a:gd name="connsiteX39" fmla="*/ 1053024 w 6186123"/>
                <a:gd name="connsiteY39" fmla="*/ 2509120 h 4009506"/>
                <a:gd name="connsiteX40" fmla="*/ 2124252 w 6186123"/>
                <a:gd name="connsiteY40" fmla="*/ 2509120 h 4009506"/>
                <a:gd name="connsiteX41" fmla="*/ 3243898 w 6186123"/>
                <a:gd name="connsiteY41" fmla="*/ 2512159 h 4009506"/>
                <a:gd name="connsiteX42" fmla="*/ 3346784 w 6186123"/>
                <a:gd name="connsiteY42" fmla="*/ 2457457 h 4009506"/>
                <a:gd name="connsiteX43" fmla="*/ 3800694 w 6186123"/>
                <a:gd name="connsiteY43" fmla="*/ 2293350 h 4009506"/>
                <a:gd name="connsiteX44" fmla="*/ 4085145 w 6186123"/>
                <a:gd name="connsiteY44" fmla="*/ 2688422 h 4009506"/>
                <a:gd name="connsiteX45" fmla="*/ 3776486 w 6186123"/>
                <a:gd name="connsiteY45" fmla="*/ 3068299 h 4009506"/>
                <a:gd name="connsiteX46" fmla="*/ 3358888 w 6186123"/>
                <a:gd name="connsiteY46" fmla="*/ 2904192 h 4009506"/>
                <a:gd name="connsiteX47" fmla="*/ 3240872 w 6186123"/>
                <a:gd name="connsiteY47" fmla="*/ 2843412 h 4009506"/>
                <a:gd name="connsiteX48" fmla="*/ 1062102 w 6186123"/>
                <a:gd name="connsiteY48" fmla="*/ 2843412 h 4009506"/>
                <a:gd name="connsiteX49" fmla="*/ 196646 w 6186123"/>
                <a:gd name="connsiteY49" fmla="*/ 2417949 h 4009506"/>
                <a:gd name="connsiteX50" fmla="*/ 886590 w 6186123"/>
                <a:gd name="connsiteY50" fmla="*/ 795115 h 4009506"/>
                <a:gd name="connsiteX51" fmla="*/ 1059076 w 6186123"/>
                <a:gd name="connsiteY51" fmla="*/ 785998 h 4009506"/>
                <a:gd name="connsiteX52" fmla="*/ 1134728 w 6186123"/>
                <a:gd name="connsiteY52" fmla="*/ 737373 h 4009506"/>
                <a:gd name="connsiteX53" fmla="*/ 2118200 w 6186123"/>
                <a:gd name="connsiteY53" fmla="*/ 11048 h 4009506"/>
                <a:gd name="connsiteX54" fmla="*/ 2300746 w 6186123"/>
                <a:gd name="connsiteY54" fmla="*/ 8 h 400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186123" h="4009506">
                  <a:moveTo>
                    <a:pt x="3730592" y="704234"/>
                  </a:moveTo>
                  <a:cubicBezTo>
                    <a:pt x="4211053" y="720045"/>
                    <a:pt x="4662293" y="989528"/>
                    <a:pt x="4905742" y="1421442"/>
                  </a:cubicBezTo>
                  <a:cubicBezTo>
                    <a:pt x="4932981" y="1476119"/>
                    <a:pt x="4969300" y="1497383"/>
                    <a:pt x="5026805" y="1500420"/>
                  </a:cubicBezTo>
                  <a:cubicBezTo>
                    <a:pt x="5468682" y="1539910"/>
                    <a:pt x="5801603" y="1755582"/>
                    <a:pt x="6025568" y="2138323"/>
                  </a:cubicBezTo>
                  <a:cubicBezTo>
                    <a:pt x="6400861" y="2782302"/>
                    <a:pt x="6089125" y="3657141"/>
                    <a:pt x="5393018" y="3921415"/>
                  </a:cubicBezTo>
                  <a:cubicBezTo>
                    <a:pt x="5232610" y="3982167"/>
                    <a:pt x="5066150" y="4009506"/>
                    <a:pt x="4896663" y="4009506"/>
                  </a:cubicBezTo>
                  <a:cubicBezTo>
                    <a:pt x="4488078" y="4009506"/>
                    <a:pt x="4076466" y="4009506"/>
                    <a:pt x="3667881" y="4009506"/>
                  </a:cubicBezTo>
                  <a:cubicBezTo>
                    <a:pt x="3256269" y="4009506"/>
                    <a:pt x="2844658" y="4009506"/>
                    <a:pt x="2433046" y="4009506"/>
                  </a:cubicBezTo>
                  <a:cubicBezTo>
                    <a:pt x="1948797" y="4009506"/>
                    <a:pt x="1543238" y="3730044"/>
                    <a:pt x="1376778" y="3274399"/>
                  </a:cubicBezTo>
                  <a:cubicBezTo>
                    <a:pt x="1355592" y="3216684"/>
                    <a:pt x="1343486" y="3158969"/>
                    <a:pt x="1328353" y="3098216"/>
                  </a:cubicBezTo>
                  <a:cubicBezTo>
                    <a:pt x="1319273" y="3064802"/>
                    <a:pt x="1334406" y="3049614"/>
                    <a:pt x="1367698" y="3049614"/>
                  </a:cubicBezTo>
                  <a:cubicBezTo>
                    <a:pt x="1382831" y="3049614"/>
                    <a:pt x="1394937" y="3049614"/>
                    <a:pt x="1410070" y="3049614"/>
                  </a:cubicBezTo>
                  <a:cubicBezTo>
                    <a:pt x="1976036" y="3049614"/>
                    <a:pt x="2545028" y="3049614"/>
                    <a:pt x="3110995" y="3046576"/>
                  </a:cubicBezTo>
                  <a:cubicBezTo>
                    <a:pt x="3165473" y="3046576"/>
                    <a:pt x="3204818" y="3061764"/>
                    <a:pt x="3244163" y="3101253"/>
                  </a:cubicBezTo>
                  <a:cubicBezTo>
                    <a:pt x="3425756" y="3289587"/>
                    <a:pt x="3698146" y="3341227"/>
                    <a:pt x="3934218" y="3234909"/>
                  </a:cubicBezTo>
                  <a:cubicBezTo>
                    <a:pt x="4167263" y="3128592"/>
                    <a:pt x="4318590" y="2885581"/>
                    <a:pt x="4297405" y="2627383"/>
                  </a:cubicBezTo>
                  <a:cubicBezTo>
                    <a:pt x="4276219" y="2369184"/>
                    <a:pt x="4143050" y="2180850"/>
                    <a:pt x="3897899" y="2089721"/>
                  </a:cubicBezTo>
                  <a:cubicBezTo>
                    <a:pt x="3652748" y="1998592"/>
                    <a:pt x="3425756" y="2050232"/>
                    <a:pt x="3235083" y="2238565"/>
                  </a:cubicBezTo>
                  <a:cubicBezTo>
                    <a:pt x="3204818" y="2268942"/>
                    <a:pt x="3171526" y="2287168"/>
                    <a:pt x="3126127" y="2287168"/>
                  </a:cubicBezTo>
                  <a:cubicBezTo>
                    <a:pt x="2617666" y="2284130"/>
                    <a:pt x="2106178" y="2284130"/>
                    <a:pt x="1594690" y="2284130"/>
                  </a:cubicBezTo>
                  <a:cubicBezTo>
                    <a:pt x="1585610" y="2284130"/>
                    <a:pt x="1576531" y="2284130"/>
                    <a:pt x="1564424" y="2284130"/>
                  </a:cubicBezTo>
                  <a:cubicBezTo>
                    <a:pt x="1522053" y="2284130"/>
                    <a:pt x="1515999" y="2268942"/>
                    <a:pt x="1543238" y="2235528"/>
                  </a:cubicBezTo>
                  <a:cubicBezTo>
                    <a:pt x="1631009" y="2120098"/>
                    <a:pt x="1736938" y="2022893"/>
                    <a:pt x="1861027" y="1949990"/>
                  </a:cubicBezTo>
                  <a:cubicBezTo>
                    <a:pt x="1982089" y="1883162"/>
                    <a:pt x="2109204" y="1831522"/>
                    <a:pt x="2248426" y="1816334"/>
                  </a:cubicBezTo>
                  <a:cubicBezTo>
                    <a:pt x="2290798" y="1813297"/>
                    <a:pt x="2305931" y="1785958"/>
                    <a:pt x="2318037" y="1746469"/>
                  </a:cubicBezTo>
                  <a:cubicBezTo>
                    <a:pt x="2484497" y="1202732"/>
                    <a:pt x="2841631" y="859479"/>
                    <a:pt x="3395491" y="734936"/>
                  </a:cubicBezTo>
                  <a:cubicBezTo>
                    <a:pt x="3507284" y="710446"/>
                    <a:pt x="3619716" y="700585"/>
                    <a:pt x="3730592" y="704234"/>
                  </a:cubicBezTo>
                  <a:close/>
                  <a:moveTo>
                    <a:pt x="2300746" y="8"/>
                  </a:moveTo>
                  <a:cubicBezTo>
                    <a:pt x="2715707" y="1504"/>
                    <a:pt x="3053634" y="192630"/>
                    <a:pt x="3310471" y="548954"/>
                  </a:cubicBezTo>
                  <a:cubicBezTo>
                    <a:pt x="3337706" y="588461"/>
                    <a:pt x="3334680" y="603657"/>
                    <a:pt x="3286263" y="615813"/>
                  </a:cubicBezTo>
                  <a:cubicBezTo>
                    <a:pt x="3222715" y="627969"/>
                    <a:pt x="3159168" y="649242"/>
                    <a:pt x="3098646" y="679632"/>
                  </a:cubicBezTo>
                  <a:cubicBezTo>
                    <a:pt x="3050229" y="703944"/>
                    <a:pt x="3016943" y="697866"/>
                    <a:pt x="2980630" y="652281"/>
                  </a:cubicBezTo>
                  <a:cubicBezTo>
                    <a:pt x="2799066" y="436511"/>
                    <a:pt x="2560006" y="321028"/>
                    <a:pt x="2281608" y="321028"/>
                  </a:cubicBezTo>
                  <a:cubicBezTo>
                    <a:pt x="1966897" y="321028"/>
                    <a:pt x="1712707" y="451706"/>
                    <a:pt x="1522065" y="706983"/>
                  </a:cubicBezTo>
                  <a:cubicBezTo>
                    <a:pt x="1446413" y="807271"/>
                    <a:pt x="1394970" y="916675"/>
                    <a:pt x="1367735" y="1041275"/>
                  </a:cubicBezTo>
                  <a:cubicBezTo>
                    <a:pt x="1358657" y="1092938"/>
                    <a:pt x="1331422" y="1108133"/>
                    <a:pt x="1279979" y="1108133"/>
                  </a:cubicBezTo>
                  <a:cubicBezTo>
                    <a:pt x="1149858" y="1108133"/>
                    <a:pt x="1019737" y="1095977"/>
                    <a:pt x="889616" y="1120289"/>
                  </a:cubicBezTo>
                  <a:cubicBezTo>
                    <a:pt x="553722" y="1181070"/>
                    <a:pt x="317689" y="1472815"/>
                    <a:pt x="323741" y="1828380"/>
                  </a:cubicBezTo>
                  <a:cubicBezTo>
                    <a:pt x="326767" y="2165711"/>
                    <a:pt x="574905" y="2448340"/>
                    <a:pt x="910798" y="2500003"/>
                  </a:cubicBezTo>
                  <a:cubicBezTo>
                    <a:pt x="956189" y="2506081"/>
                    <a:pt x="1004607" y="2509120"/>
                    <a:pt x="1053024" y="2509120"/>
                  </a:cubicBezTo>
                  <a:cubicBezTo>
                    <a:pt x="1410100" y="2509120"/>
                    <a:pt x="1767176" y="2509120"/>
                    <a:pt x="2124252" y="2509120"/>
                  </a:cubicBezTo>
                  <a:cubicBezTo>
                    <a:pt x="2499485" y="2509120"/>
                    <a:pt x="2871691" y="2509120"/>
                    <a:pt x="3243898" y="2512159"/>
                  </a:cubicBezTo>
                  <a:cubicBezTo>
                    <a:pt x="3289289" y="2512159"/>
                    <a:pt x="3319550" y="2500003"/>
                    <a:pt x="3346784" y="2457457"/>
                  </a:cubicBezTo>
                  <a:cubicBezTo>
                    <a:pt x="3446644" y="2302467"/>
                    <a:pt x="3631235" y="2238647"/>
                    <a:pt x="3800694" y="2293350"/>
                  </a:cubicBezTo>
                  <a:cubicBezTo>
                    <a:pt x="3973180" y="2348052"/>
                    <a:pt x="4094223" y="2515198"/>
                    <a:pt x="4085145" y="2688422"/>
                  </a:cubicBezTo>
                  <a:cubicBezTo>
                    <a:pt x="4079093" y="2870763"/>
                    <a:pt x="3955024" y="3022714"/>
                    <a:pt x="3776486" y="3068299"/>
                  </a:cubicBezTo>
                  <a:cubicBezTo>
                    <a:pt x="3622156" y="3107806"/>
                    <a:pt x="3449670" y="3043987"/>
                    <a:pt x="3358888" y="2904192"/>
                  </a:cubicBezTo>
                  <a:cubicBezTo>
                    <a:pt x="3328628" y="2855568"/>
                    <a:pt x="3292315" y="2843412"/>
                    <a:pt x="3240872" y="2843412"/>
                  </a:cubicBezTo>
                  <a:cubicBezTo>
                    <a:pt x="2514615" y="2843412"/>
                    <a:pt x="1788359" y="2846451"/>
                    <a:pt x="1062102" y="2843412"/>
                  </a:cubicBezTo>
                  <a:cubicBezTo>
                    <a:pt x="705026" y="2843412"/>
                    <a:pt x="408471" y="2709695"/>
                    <a:pt x="196646" y="2417949"/>
                  </a:cubicBezTo>
                  <a:cubicBezTo>
                    <a:pt x="-260290" y="1797990"/>
                    <a:pt x="124021" y="895402"/>
                    <a:pt x="886590" y="795115"/>
                  </a:cubicBezTo>
                  <a:cubicBezTo>
                    <a:pt x="944085" y="785998"/>
                    <a:pt x="1001581" y="782959"/>
                    <a:pt x="1059076" y="785998"/>
                  </a:cubicBezTo>
                  <a:cubicBezTo>
                    <a:pt x="1098415" y="785998"/>
                    <a:pt x="1116571" y="773842"/>
                    <a:pt x="1134728" y="737373"/>
                  </a:cubicBezTo>
                  <a:cubicBezTo>
                    <a:pt x="1334448" y="324067"/>
                    <a:pt x="1661264" y="68790"/>
                    <a:pt x="2118200" y="11048"/>
                  </a:cubicBezTo>
                  <a:cubicBezTo>
                    <a:pt x="2180613" y="3451"/>
                    <a:pt x="2241465" y="-205"/>
                    <a:pt x="230074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6044B45F-B6DE-4606-9550-47A11E3454C6}"/>
                </a:ext>
              </a:extLst>
            </p:cNvPr>
            <p:cNvSpPr txBox="1"/>
            <p:nvPr/>
          </p:nvSpPr>
          <p:spPr>
            <a:xfrm>
              <a:off x="3091098" y="6003144"/>
              <a:ext cx="628378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crosoft 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hina 21Viane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162">
              <a:extLst>
                <a:ext uri="{FF2B5EF4-FFF2-40B4-BE49-F238E27FC236}">
                  <a16:creationId xmlns:a16="http://schemas.microsoft.com/office/drawing/2014/main" id="{8EE74259-2243-42C4-8B97-ADB6088DF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435" y="5756987"/>
              <a:ext cx="267704" cy="173512"/>
            </a:xfrm>
            <a:custGeom>
              <a:avLst/>
              <a:gdLst>
                <a:gd name="connsiteX0" fmla="*/ 3730592 w 6186123"/>
                <a:gd name="connsiteY0" fmla="*/ 704234 h 4009506"/>
                <a:gd name="connsiteX1" fmla="*/ 4905742 w 6186123"/>
                <a:gd name="connsiteY1" fmla="*/ 1421442 h 4009506"/>
                <a:gd name="connsiteX2" fmla="*/ 5026805 w 6186123"/>
                <a:gd name="connsiteY2" fmla="*/ 1500420 h 4009506"/>
                <a:gd name="connsiteX3" fmla="*/ 6025568 w 6186123"/>
                <a:gd name="connsiteY3" fmla="*/ 2138323 h 4009506"/>
                <a:gd name="connsiteX4" fmla="*/ 5393018 w 6186123"/>
                <a:gd name="connsiteY4" fmla="*/ 3921415 h 4009506"/>
                <a:gd name="connsiteX5" fmla="*/ 4896663 w 6186123"/>
                <a:gd name="connsiteY5" fmla="*/ 4009506 h 4009506"/>
                <a:gd name="connsiteX6" fmla="*/ 3667881 w 6186123"/>
                <a:gd name="connsiteY6" fmla="*/ 4009506 h 4009506"/>
                <a:gd name="connsiteX7" fmla="*/ 2433046 w 6186123"/>
                <a:gd name="connsiteY7" fmla="*/ 4009506 h 4009506"/>
                <a:gd name="connsiteX8" fmla="*/ 1376778 w 6186123"/>
                <a:gd name="connsiteY8" fmla="*/ 3274399 h 4009506"/>
                <a:gd name="connsiteX9" fmla="*/ 1328353 w 6186123"/>
                <a:gd name="connsiteY9" fmla="*/ 3098216 h 4009506"/>
                <a:gd name="connsiteX10" fmla="*/ 1367698 w 6186123"/>
                <a:gd name="connsiteY10" fmla="*/ 3049614 h 4009506"/>
                <a:gd name="connsiteX11" fmla="*/ 1410070 w 6186123"/>
                <a:gd name="connsiteY11" fmla="*/ 3049614 h 4009506"/>
                <a:gd name="connsiteX12" fmla="*/ 3110995 w 6186123"/>
                <a:gd name="connsiteY12" fmla="*/ 3046576 h 4009506"/>
                <a:gd name="connsiteX13" fmla="*/ 3244163 w 6186123"/>
                <a:gd name="connsiteY13" fmla="*/ 3101253 h 4009506"/>
                <a:gd name="connsiteX14" fmla="*/ 3934218 w 6186123"/>
                <a:gd name="connsiteY14" fmla="*/ 3234909 h 4009506"/>
                <a:gd name="connsiteX15" fmla="*/ 4297405 w 6186123"/>
                <a:gd name="connsiteY15" fmla="*/ 2627383 h 4009506"/>
                <a:gd name="connsiteX16" fmla="*/ 3897899 w 6186123"/>
                <a:gd name="connsiteY16" fmla="*/ 2089721 h 4009506"/>
                <a:gd name="connsiteX17" fmla="*/ 3235083 w 6186123"/>
                <a:gd name="connsiteY17" fmla="*/ 2238565 h 4009506"/>
                <a:gd name="connsiteX18" fmla="*/ 3126127 w 6186123"/>
                <a:gd name="connsiteY18" fmla="*/ 2287168 h 4009506"/>
                <a:gd name="connsiteX19" fmla="*/ 1594690 w 6186123"/>
                <a:gd name="connsiteY19" fmla="*/ 2284130 h 4009506"/>
                <a:gd name="connsiteX20" fmla="*/ 1564424 w 6186123"/>
                <a:gd name="connsiteY20" fmla="*/ 2284130 h 4009506"/>
                <a:gd name="connsiteX21" fmla="*/ 1543238 w 6186123"/>
                <a:gd name="connsiteY21" fmla="*/ 2235528 h 4009506"/>
                <a:gd name="connsiteX22" fmla="*/ 1861027 w 6186123"/>
                <a:gd name="connsiteY22" fmla="*/ 1949990 h 4009506"/>
                <a:gd name="connsiteX23" fmla="*/ 2248426 w 6186123"/>
                <a:gd name="connsiteY23" fmla="*/ 1816334 h 4009506"/>
                <a:gd name="connsiteX24" fmla="*/ 2318037 w 6186123"/>
                <a:gd name="connsiteY24" fmla="*/ 1746469 h 4009506"/>
                <a:gd name="connsiteX25" fmla="*/ 3395491 w 6186123"/>
                <a:gd name="connsiteY25" fmla="*/ 734936 h 4009506"/>
                <a:gd name="connsiteX26" fmla="*/ 3730592 w 6186123"/>
                <a:gd name="connsiteY26" fmla="*/ 704234 h 4009506"/>
                <a:gd name="connsiteX27" fmla="*/ 2300746 w 6186123"/>
                <a:gd name="connsiteY27" fmla="*/ 8 h 4009506"/>
                <a:gd name="connsiteX28" fmla="*/ 3310471 w 6186123"/>
                <a:gd name="connsiteY28" fmla="*/ 548954 h 4009506"/>
                <a:gd name="connsiteX29" fmla="*/ 3286263 w 6186123"/>
                <a:gd name="connsiteY29" fmla="*/ 615813 h 4009506"/>
                <a:gd name="connsiteX30" fmla="*/ 3098646 w 6186123"/>
                <a:gd name="connsiteY30" fmla="*/ 679632 h 4009506"/>
                <a:gd name="connsiteX31" fmla="*/ 2980630 w 6186123"/>
                <a:gd name="connsiteY31" fmla="*/ 652281 h 4009506"/>
                <a:gd name="connsiteX32" fmla="*/ 2281608 w 6186123"/>
                <a:gd name="connsiteY32" fmla="*/ 321028 h 4009506"/>
                <a:gd name="connsiteX33" fmla="*/ 1522065 w 6186123"/>
                <a:gd name="connsiteY33" fmla="*/ 706983 h 4009506"/>
                <a:gd name="connsiteX34" fmla="*/ 1367735 w 6186123"/>
                <a:gd name="connsiteY34" fmla="*/ 1041275 h 4009506"/>
                <a:gd name="connsiteX35" fmla="*/ 1279979 w 6186123"/>
                <a:gd name="connsiteY35" fmla="*/ 1108133 h 4009506"/>
                <a:gd name="connsiteX36" fmla="*/ 889616 w 6186123"/>
                <a:gd name="connsiteY36" fmla="*/ 1120289 h 4009506"/>
                <a:gd name="connsiteX37" fmla="*/ 323741 w 6186123"/>
                <a:gd name="connsiteY37" fmla="*/ 1828380 h 4009506"/>
                <a:gd name="connsiteX38" fmla="*/ 910798 w 6186123"/>
                <a:gd name="connsiteY38" fmla="*/ 2500003 h 4009506"/>
                <a:gd name="connsiteX39" fmla="*/ 1053024 w 6186123"/>
                <a:gd name="connsiteY39" fmla="*/ 2509120 h 4009506"/>
                <a:gd name="connsiteX40" fmla="*/ 2124252 w 6186123"/>
                <a:gd name="connsiteY40" fmla="*/ 2509120 h 4009506"/>
                <a:gd name="connsiteX41" fmla="*/ 3243898 w 6186123"/>
                <a:gd name="connsiteY41" fmla="*/ 2512159 h 4009506"/>
                <a:gd name="connsiteX42" fmla="*/ 3346784 w 6186123"/>
                <a:gd name="connsiteY42" fmla="*/ 2457457 h 4009506"/>
                <a:gd name="connsiteX43" fmla="*/ 3800694 w 6186123"/>
                <a:gd name="connsiteY43" fmla="*/ 2293350 h 4009506"/>
                <a:gd name="connsiteX44" fmla="*/ 4085145 w 6186123"/>
                <a:gd name="connsiteY44" fmla="*/ 2688422 h 4009506"/>
                <a:gd name="connsiteX45" fmla="*/ 3776486 w 6186123"/>
                <a:gd name="connsiteY45" fmla="*/ 3068299 h 4009506"/>
                <a:gd name="connsiteX46" fmla="*/ 3358888 w 6186123"/>
                <a:gd name="connsiteY46" fmla="*/ 2904192 h 4009506"/>
                <a:gd name="connsiteX47" fmla="*/ 3240872 w 6186123"/>
                <a:gd name="connsiteY47" fmla="*/ 2843412 h 4009506"/>
                <a:gd name="connsiteX48" fmla="*/ 1062102 w 6186123"/>
                <a:gd name="connsiteY48" fmla="*/ 2843412 h 4009506"/>
                <a:gd name="connsiteX49" fmla="*/ 196646 w 6186123"/>
                <a:gd name="connsiteY49" fmla="*/ 2417949 h 4009506"/>
                <a:gd name="connsiteX50" fmla="*/ 886590 w 6186123"/>
                <a:gd name="connsiteY50" fmla="*/ 795115 h 4009506"/>
                <a:gd name="connsiteX51" fmla="*/ 1059076 w 6186123"/>
                <a:gd name="connsiteY51" fmla="*/ 785998 h 4009506"/>
                <a:gd name="connsiteX52" fmla="*/ 1134728 w 6186123"/>
                <a:gd name="connsiteY52" fmla="*/ 737373 h 4009506"/>
                <a:gd name="connsiteX53" fmla="*/ 2118200 w 6186123"/>
                <a:gd name="connsiteY53" fmla="*/ 11048 h 4009506"/>
                <a:gd name="connsiteX54" fmla="*/ 2300746 w 6186123"/>
                <a:gd name="connsiteY54" fmla="*/ 8 h 400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186123" h="4009506">
                  <a:moveTo>
                    <a:pt x="3730592" y="704234"/>
                  </a:moveTo>
                  <a:cubicBezTo>
                    <a:pt x="4211053" y="720045"/>
                    <a:pt x="4662293" y="989528"/>
                    <a:pt x="4905742" y="1421442"/>
                  </a:cubicBezTo>
                  <a:cubicBezTo>
                    <a:pt x="4932981" y="1476119"/>
                    <a:pt x="4969300" y="1497383"/>
                    <a:pt x="5026805" y="1500420"/>
                  </a:cubicBezTo>
                  <a:cubicBezTo>
                    <a:pt x="5468682" y="1539910"/>
                    <a:pt x="5801603" y="1755582"/>
                    <a:pt x="6025568" y="2138323"/>
                  </a:cubicBezTo>
                  <a:cubicBezTo>
                    <a:pt x="6400861" y="2782302"/>
                    <a:pt x="6089125" y="3657141"/>
                    <a:pt x="5393018" y="3921415"/>
                  </a:cubicBezTo>
                  <a:cubicBezTo>
                    <a:pt x="5232610" y="3982167"/>
                    <a:pt x="5066150" y="4009506"/>
                    <a:pt x="4896663" y="4009506"/>
                  </a:cubicBezTo>
                  <a:cubicBezTo>
                    <a:pt x="4488078" y="4009506"/>
                    <a:pt x="4076466" y="4009506"/>
                    <a:pt x="3667881" y="4009506"/>
                  </a:cubicBezTo>
                  <a:cubicBezTo>
                    <a:pt x="3256269" y="4009506"/>
                    <a:pt x="2844658" y="4009506"/>
                    <a:pt x="2433046" y="4009506"/>
                  </a:cubicBezTo>
                  <a:cubicBezTo>
                    <a:pt x="1948797" y="4009506"/>
                    <a:pt x="1543238" y="3730044"/>
                    <a:pt x="1376778" y="3274399"/>
                  </a:cubicBezTo>
                  <a:cubicBezTo>
                    <a:pt x="1355592" y="3216684"/>
                    <a:pt x="1343486" y="3158969"/>
                    <a:pt x="1328353" y="3098216"/>
                  </a:cubicBezTo>
                  <a:cubicBezTo>
                    <a:pt x="1319273" y="3064802"/>
                    <a:pt x="1334406" y="3049614"/>
                    <a:pt x="1367698" y="3049614"/>
                  </a:cubicBezTo>
                  <a:cubicBezTo>
                    <a:pt x="1382831" y="3049614"/>
                    <a:pt x="1394937" y="3049614"/>
                    <a:pt x="1410070" y="3049614"/>
                  </a:cubicBezTo>
                  <a:cubicBezTo>
                    <a:pt x="1976036" y="3049614"/>
                    <a:pt x="2545028" y="3049614"/>
                    <a:pt x="3110995" y="3046576"/>
                  </a:cubicBezTo>
                  <a:cubicBezTo>
                    <a:pt x="3165473" y="3046576"/>
                    <a:pt x="3204818" y="3061764"/>
                    <a:pt x="3244163" y="3101253"/>
                  </a:cubicBezTo>
                  <a:cubicBezTo>
                    <a:pt x="3425756" y="3289587"/>
                    <a:pt x="3698146" y="3341227"/>
                    <a:pt x="3934218" y="3234909"/>
                  </a:cubicBezTo>
                  <a:cubicBezTo>
                    <a:pt x="4167263" y="3128592"/>
                    <a:pt x="4318590" y="2885581"/>
                    <a:pt x="4297405" y="2627383"/>
                  </a:cubicBezTo>
                  <a:cubicBezTo>
                    <a:pt x="4276219" y="2369184"/>
                    <a:pt x="4143050" y="2180850"/>
                    <a:pt x="3897899" y="2089721"/>
                  </a:cubicBezTo>
                  <a:cubicBezTo>
                    <a:pt x="3652748" y="1998592"/>
                    <a:pt x="3425756" y="2050232"/>
                    <a:pt x="3235083" y="2238565"/>
                  </a:cubicBezTo>
                  <a:cubicBezTo>
                    <a:pt x="3204818" y="2268942"/>
                    <a:pt x="3171526" y="2287168"/>
                    <a:pt x="3126127" y="2287168"/>
                  </a:cubicBezTo>
                  <a:cubicBezTo>
                    <a:pt x="2617666" y="2284130"/>
                    <a:pt x="2106178" y="2284130"/>
                    <a:pt x="1594690" y="2284130"/>
                  </a:cubicBezTo>
                  <a:cubicBezTo>
                    <a:pt x="1585610" y="2284130"/>
                    <a:pt x="1576531" y="2284130"/>
                    <a:pt x="1564424" y="2284130"/>
                  </a:cubicBezTo>
                  <a:cubicBezTo>
                    <a:pt x="1522053" y="2284130"/>
                    <a:pt x="1515999" y="2268942"/>
                    <a:pt x="1543238" y="2235528"/>
                  </a:cubicBezTo>
                  <a:cubicBezTo>
                    <a:pt x="1631009" y="2120098"/>
                    <a:pt x="1736938" y="2022893"/>
                    <a:pt x="1861027" y="1949990"/>
                  </a:cubicBezTo>
                  <a:cubicBezTo>
                    <a:pt x="1982089" y="1883162"/>
                    <a:pt x="2109204" y="1831522"/>
                    <a:pt x="2248426" y="1816334"/>
                  </a:cubicBezTo>
                  <a:cubicBezTo>
                    <a:pt x="2290798" y="1813297"/>
                    <a:pt x="2305931" y="1785958"/>
                    <a:pt x="2318037" y="1746469"/>
                  </a:cubicBezTo>
                  <a:cubicBezTo>
                    <a:pt x="2484497" y="1202732"/>
                    <a:pt x="2841631" y="859479"/>
                    <a:pt x="3395491" y="734936"/>
                  </a:cubicBezTo>
                  <a:cubicBezTo>
                    <a:pt x="3507284" y="710446"/>
                    <a:pt x="3619716" y="700585"/>
                    <a:pt x="3730592" y="704234"/>
                  </a:cubicBezTo>
                  <a:close/>
                  <a:moveTo>
                    <a:pt x="2300746" y="8"/>
                  </a:moveTo>
                  <a:cubicBezTo>
                    <a:pt x="2715707" y="1504"/>
                    <a:pt x="3053634" y="192630"/>
                    <a:pt x="3310471" y="548954"/>
                  </a:cubicBezTo>
                  <a:cubicBezTo>
                    <a:pt x="3337706" y="588461"/>
                    <a:pt x="3334680" y="603657"/>
                    <a:pt x="3286263" y="615813"/>
                  </a:cubicBezTo>
                  <a:cubicBezTo>
                    <a:pt x="3222715" y="627969"/>
                    <a:pt x="3159168" y="649242"/>
                    <a:pt x="3098646" y="679632"/>
                  </a:cubicBezTo>
                  <a:cubicBezTo>
                    <a:pt x="3050229" y="703944"/>
                    <a:pt x="3016943" y="697866"/>
                    <a:pt x="2980630" y="652281"/>
                  </a:cubicBezTo>
                  <a:cubicBezTo>
                    <a:pt x="2799066" y="436511"/>
                    <a:pt x="2560006" y="321028"/>
                    <a:pt x="2281608" y="321028"/>
                  </a:cubicBezTo>
                  <a:cubicBezTo>
                    <a:pt x="1966897" y="321028"/>
                    <a:pt x="1712707" y="451706"/>
                    <a:pt x="1522065" y="706983"/>
                  </a:cubicBezTo>
                  <a:cubicBezTo>
                    <a:pt x="1446413" y="807271"/>
                    <a:pt x="1394970" y="916675"/>
                    <a:pt x="1367735" y="1041275"/>
                  </a:cubicBezTo>
                  <a:cubicBezTo>
                    <a:pt x="1358657" y="1092938"/>
                    <a:pt x="1331422" y="1108133"/>
                    <a:pt x="1279979" y="1108133"/>
                  </a:cubicBezTo>
                  <a:cubicBezTo>
                    <a:pt x="1149858" y="1108133"/>
                    <a:pt x="1019737" y="1095977"/>
                    <a:pt x="889616" y="1120289"/>
                  </a:cubicBezTo>
                  <a:cubicBezTo>
                    <a:pt x="553722" y="1181070"/>
                    <a:pt x="317689" y="1472815"/>
                    <a:pt x="323741" y="1828380"/>
                  </a:cubicBezTo>
                  <a:cubicBezTo>
                    <a:pt x="326767" y="2165711"/>
                    <a:pt x="574905" y="2448340"/>
                    <a:pt x="910798" y="2500003"/>
                  </a:cubicBezTo>
                  <a:cubicBezTo>
                    <a:pt x="956189" y="2506081"/>
                    <a:pt x="1004607" y="2509120"/>
                    <a:pt x="1053024" y="2509120"/>
                  </a:cubicBezTo>
                  <a:cubicBezTo>
                    <a:pt x="1410100" y="2509120"/>
                    <a:pt x="1767176" y="2509120"/>
                    <a:pt x="2124252" y="2509120"/>
                  </a:cubicBezTo>
                  <a:cubicBezTo>
                    <a:pt x="2499485" y="2509120"/>
                    <a:pt x="2871691" y="2509120"/>
                    <a:pt x="3243898" y="2512159"/>
                  </a:cubicBezTo>
                  <a:cubicBezTo>
                    <a:pt x="3289289" y="2512159"/>
                    <a:pt x="3319550" y="2500003"/>
                    <a:pt x="3346784" y="2457457"/>
                  </a:cubicBezTo>
                  <a:cubicBezTo>
                    <a:pt x="3446644" y="2302467"/>
                    <a:pt x="3631235" y="2238647"/>
                    <a:pt x="3800694" y="2293350"/>
                  </a:cubicBezTo>
                  <a:cubicBezTo>
                    <a:pt x="3973180" y="2348052"/>
                    <a:pt x="4094223" y="2515198"/>
                    <a:pt x="4085145" y="2688422"/>
                  </a:cubicBezTo>
                  <a:cubicBezTo>
                    <a:pt x="4079093" y="2870763"/>
                    <a:pt x="3955024" y="3022714"/>
                    <a:pt x="3776486" y="3068299"/>
                  </a:cubicBezTo>
                  <a:cubicBezTo>
                    <a:pt x="3622156" y="3107806"/>
                    <a:pt x="3449670" y="3043987"/>
                    <a:pt x="3358888" y="2904192"/>
                  </a:cubicBezTo>
                  <a:cubicBezTo>
                    <a:pt x="3328628" y="2855568"/>
                    <a:pt x="3292315" y="2843412"/>
                    <a:pt x="3240872" y="2843412"/>
                  </a:cubicBezTo>
                  <a:cubicBezTo>
                    <a:pt x="2514615" y="2843412"/>
                    <a:pt x="1788359" y="2846451"/>
                    <a:pt x="1062102" y="2843412"/>
                  </a:cubicBezTo>
                  <a:cubicBezTo>
                    <a:pt x="705026" y="2843412"/>
                    <a:pt x="408471" y="2709695"/>
                    <a:pt x="196646" y="2417949"/>
                  </a:cubicBezTo>
                  <a:cubicBezTo>
                    <a:pt x="-260290" y="1797990"/>
                    <a:pt x="124021" y="895402"/>
                    <a:pt x="886590" y="795115"/>
                  </a:cubicBezTo>
                  <a:cubicBezTo>
                    <a:pt x="944085" y="785998"/>
                    <a:pt x="1001581" y="782959"/>
                    <a:pt x="1059076" y="785998"/>
                  </a:cubicBezTo>
                  <a:cubicBezTo>
                    <a:pt x="1098415" y="785998"/>
                    <a:pt x="1116571" y="773842"/>
                    <a:pt x="1134728" y="737373"/>
                  </a:cubicBezTo>
                  <a:cubicBezTo>
                    <a:pt x="1334448" y="324067"/>
                    <a:pt x="1661264" y="68790"/>
                    <a:pt x="2118200" y="11048"/>
                  </a:cubicBezTo>
                  <a:cubicBezTo>
                    <a:pt x="2180613" y="3451"/>
                    <a:pt x="2241465" y="-205"/>
                    <a:pt x="230074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Rectangle 324">
              <a:extLst>
                <a:ext uri="{FF2B5EF4-FFF2-40B4-BE49-F238E27FC236}">
                  <a16:creationId xmlns:a16="http://schemas.microsoft.com/office/drawing/2014/main" id="{DC337860-3630-400F-AE70-91944B86D4D7}"/>
                </a:ext>
              </a:extLst>
            </p:cNvPr>
            <p:cNvSpPr/>
            <p:nvPr/>
          </p:nvSpPr>
          <p:spPr bwMode="auto">
            <a:xfrm>
              <a:off x="304975" y="562194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Sovereign Clouds</a:t>
              </a:r>
            </a:p>
          </p:txBody>
        </p: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0415E84F-D54E-4D5E-8068-4936D2B25DD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36301" y="5621942"/>
              <a:ext cx="1" cy="647096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CF8E4A50-49C1-4C43-8DA9-8428D01125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72111" y="5621942"/>
              <a:ext cx="1" cy="647096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585F6E8-DC0F-485F-AADC-4CA40A54D9AD}"/>
              </a:ext>
            </a:extLst>
          </p:cNvPr>
          <p:cNvGrpSpPr/>
          <p:nvPr/>
        </p:nvGrpSpPr>
        <p:grpSpPr>
          <a:xfrm>
            <a:off x="304975" y="1433125"/>
            <a:ext cx="11887025" cy="655389"/>
            <a:chOff x="304975" y="1433125"/>
            <a:chExt cx="11887025" cy="655389"/>
          </a:xfrm>
        </p:grpSpPr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6D50C7B3-DCD8-48EA-899B-3D08B01C877C}"/>
                </a:ext>
              </a:extLst>
            </p:cNvPr>
            <p:cNvSpPr/>
            <p:nvPr/>
          </p:nvSpPr>
          <p:spPr bwMode="auto">
            <a:xfrm>
              <a:off x="1402080" y="1433125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6F1EFB96-BADE-4F4D-805A-CF8D5074CDEC}"/>
                </a:ext>
              </a:extLst>
            </p:cNvPr>
            <p:cNvSpPr/>
            <p:nvPr/>
          </p:nvSpPr>
          <p:spPr bwMode="auto">
            <a:xfrm>
              <a:off x="304975" y="1433125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Analytics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79A50EA0-41B4-41E3-B7B2-5DF380C1E7DE}"/>
                </a:ext>
              </a:extLst>
            </p:cNvPr>
            <p:cNvSpPr txBox="1"/>
            <p:nvPr/>
          </p:nvSpPr>
          <p:spPr>
            <a:xfrm>
              <a:off x="4847567" y="1815020"/>
              <a:ext cx="512462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ctor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05F82D77-F772-460E-9922-B53815D21E49}"/>
                </a:ext>
              </a:extLst>
            </p:cNvPr>
            <p:cNvSpPr txBox="1"/>
            <p:nvPr/>
          </p:nvSpPr>
          <p:spPr>
            <a:xfrm>
              <a:off x="1398591" y="1815020"/>
              <a:ext cx="596517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brick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4155FA5F-2DD9-44B1-9F03-555204071E0D}"/>
                </a:ext>
              </a:extLst>
            </p:cNvPr>
            <p:cNvSpPr txBox="1"/>
            <p:nvPr/>
          </p:nvSpPr>
          <p:spPr>
            <a:xfrm>
              <a:off x="1982308" y="1815020"/>
              <a:ext cx="55204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DInsigh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67051D09-167C-4CD2-867E-82259EFB2B12}"/>
                </a:ext>
              </a:extLst>
            </p:cNvPr>
            <p:cNvSpPr txBox="1"/>
            <p:nvPr/>
          </p:nvSpPr>
          <p:spPr>
            <a:xfrm>
              <a:off x="2521548" y="1815020"/>
              <a:ext cx="723391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ream Analyt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C8D4732B-2C6A-4CCB-BA42-D18A11D3E2D7}"/>
                </a:ext>
              </a:extLst>
            </p:cNvPr>
            <p:cNvSpPr txBox="1"/>
            <p:nvPr/>
          </p:nvSpPr>
          <p:spPr>
            <a:xfrm>
              <a:off x="3232139" y="1815020"/>
              <a:ext cx="515109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vent 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ub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D216B1AF-A214-4A16-B1C7-FA3782CAEB56}"/>
                </a:ext>
              </a:extLst>
            </p:cNvPr>
            <p:cNvSpPr txBox="1"/>
            <p:nvPr/>
          </p:nvSpPr>
          <p:spPr>
            <a:xfrm>
              <a:off x="5236390" y="1815020"/>
              <a:ext cx="77774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Analysis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4B9B5423-76B6-4735-9D50-BA57D109CF52}"/>
                </a:ext>
              </a:extLst>
            </p:cNvPr>
            <p:cNvSpPr txBox="1"/>
            <p:nvPr/>
          </p:nvSpPr>
          <p:spPr>
            <a:xfrm>
              <a:off x="3734448" y="1815020"/>
              <a:ext cx="54846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Lake Analyt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0F47478E-2946-4A8E-B2A8-3C50E72E5361}"/>
                </a:ext>
              </a:extLst>
            </p:cNvPr>
            <p:cNvSpPr txBox="1"/>
            <p:nvPr/>
          </p:nvSpPr>
          <p:spPr>
            <a:xfrm>
              <a:off x="7145829" y="1815020"/>
              <a:ext cx="61187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Lak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e Gen2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6E5818C4-6A94-4F57-9AAD-370C62CE8AF4}"/>
                </a:ext>
              </a:extLst>
            </p:cNvPr>
            <p:cNvSpPr txBox="1"/>
            <p:nvPr/>
          </p:nvSpPr>
          <p:spPr>
            <a:xfrm>
              <a:off x="7744899" y="1815020"/>
              <a:ext cx="625651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Lak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ore Gen1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C4B4A92B-5DCE-4E81-A5A1-8668F2E4501A}"/>
                </a:ext>
              </a:extLst>
            </p:cNvPr>
            <p:cNvSpPr txBox="1"/>
            <p:nvPr/>
          </p:nvSpPr>
          <p:spPr>
            <a:xfrm>
              <a:off x="4270111" y="1815020"/>
              <a:ext cx="63874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wer BI Embedded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18BEC251-5C51-4299-A4BB-5B88878F75AD}"/>
                </a:ext>
              </a:extLst>
            </p:cNvPr>
            <p:cNvSpPr txBox="1"/>
            <p:nvPr/>
          </p:nvSpPr>
          <p:spPr>
            <a:xfrm>
              <a:off x="6543837" y="1815020"/>
              <a:ext cx="614792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 Explor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CB8821C1-336F-4DFC-A5E4-B6ED7FF82E3E}"/>
                </a:ext>
              </a:extLst>
            </p:cNvPr>
            <p:cNvSpPr txBox="1"/>
            <p:nvPr/>
          </p:nvSpPr>
          <p:spPr>
            <a:xfrm>
              <a:off x="8357750" y="1815020"/>
              <a:ext cx="625651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4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ache Spark for HDInsigh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253ADCE0-E4A8-4F5A-9179-56BBEC7C3A32}"/>
                </a:ext>
              </a:extLst>
            </p:cNvPr>
            <p:cNvSpPr txBox="1"/>
            <p:nvPr/>
          </p:nvSpPr>
          <p:spPr>
            <a:xfrm>
              <a:off x="8970601" y="1815020"/>
              <a:ext cx="625651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ache Storm for HDInsigh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E9AE49BC-0C0A-470A-9620-2914B6D5930A}"/>
                </a:ext>
              </a:extLst>
            </p:cNvPr>
            <p:cNvSpPr txBox="1"/>
            <p:nvPr/>
          </p:nvSpPr>
          <p:spPr>
            <a:xfrm>
              <a:off x="9583452" y="1815020"/>
              <a:ext cx="625651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 Server for HDInsigh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05F35F2F-4E4D-4E9A-9E5F-A5D526E3BCA9}"/>
                </a:ext>
              </a:extLst>
            </p:cNvPr>
            <p:cNvSpPr txBox="1"/>
            <p:nvPr/>
          </p:nvSpPr>
          <p:spPr>
            <a:xfrm>
              <a:off x="10196303" y="1815020"/>
              <a:ext cx="503421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g Analyt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F8954956-79CB-48CE-99B4-691AC185D746}"/>
                </a:ext>
              </a:extLst>
            </p:cNvPr>
            <p:cNvSpPr txBox="1"/>
            <p:nvPr/>
          </p:nvSpPr>
          <p:spPr>
            <a:xfrm>
              <a:off x="10686924" y="1815020"/>
              <a:ext cx="495313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Catalog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27D90D2A-32B6-4BBB-ABC0-EA06602A2B90}"/>
                </a:ext>
              </a:extLst>
            </p:cNvPr>
            <p:cNvSpPr txBox="1"/>
            <p:nvPr/>
          </p:nvSpPr>
          <p:spPr>
            <a:xfrm>
              <a:off x="11169424" y="1815020"/>
              <a:ext cx="49531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en Dataset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00" name="Straight Connector 299">
              <a:extLst>
                <a:ext uri="{FF2B5EF4-FFF2-40B4-BE49-F238E27FC236}">
                  <a16:creationId xmlns:a16="http://schemas.microsoft.com/office/drawing/2014/main" id="{4F93C5EC-12B4-489F-896D-D2D18BA1493E}"/>
                </a:ext>
              </a:extLst>
            </p:cNvPr>
            <p:cNvCxnSpPr>
              <a:cxnSpLocks/>
            </p:cNvCxnSpPr>
            <p:nvPr/>
          </p:nvCxnSpPr>
          <p:spPr>
            <a:xfrm>
              <a:off x="1988708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>
              <a:extLst>
                <a:ext uri="{FF2B5EF4-FFF2-40B4-BE49-F238E27FC236}">
                  <a16:creationId xmlns:a16="http://schemas.microsoft.com/office/drawing/2014/main" id="{A72ADB64-AB5C-455F-87B9-9ACC86E9E42B}"/>
                </a:ext>
              </a:extLst>
            </p:cNvPr>
            <p:cNvCxnSpPr>
              <a:cxnSpLocks/>
            </p:cNvCxnSpPr>
            <p:nvPr/>
          </p:nvCxnSpPr>
          <p:spPr>
            <a:xfrm>
              <a:off x="2527948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>
              <a:extLst>
                <a:ext uri="{FF2B5EF4-FFF2-40B4-BE49-F238E27FC236}">
                  <a16:creationId xmlns:a16="http://schemas.microsoft.com/office/drawing/2014/main" id="{3541C080-AFE7-441F-B964-5182A3795446}"/>
                </a:ext>
              </a:extLst>
            </p:cNvPr>
            <p:cNvCxnSpPr>
              <a:cxnSpLocks/>
            </p:cNvCxnSpPr>
            <p:nvPr/>
          </p:nvCxnSpPr>
          <p:spPr>
            <a:xfrm>
              <a:off x="3238539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>
              <a:extLst>
                <a:ext uri="{FF2B5EF4-FFF2-40B4-BE49-F238E27FC236}">
                  <a16:creationId xmlns:a16="http://schemas.microsoft.com/office/drawing/2014/main" id="{87C08DEC-AD63-488E-9847-9090435C1CFA}"/>
                </a:ext>
              </a:extLst>
            </p:cNvPr>
            <p:cNvCxnSpPr>
              <a:cxnSpLocks/>
            </p:cNvCxnSpPr>
            <p:nvPr/>
          </p:nvCxnSpPr>
          <p:spPr>
            <a:xfrm>
              <a:off x="3740848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3A5055A3-C156-4A1E-B681-4B1EAC855D29}"/>
                </a:ext>
              </a:extLst>
            </p:cNvPr>
            <p:cNvCxnSpPr>
              <a:cxnSpLocks/>
            </p:cNvCxnSpPr>
            <p:nvPr/>
          </p:nvCxnSpPr>
          <p:spPr>
            <a:xfrm>
              <a:off x="4276511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>
              <a:extLst>
                <a:ext uri="{FF2B5EF4-FFF2-40B4-BE49-F238E27FC236}">
                  <a16:creationId xmlns:a16="http://schemas.microsoft.com/office/drawing/2014/main" id="{D5459D5C-C7AC-4C50-BF04-F7C6126C4DDC}"/>
                </a:ext>
              </a:extLst>
            </p:cNvPr>
            <p:cNvCxnSpPr>
              <a:cxnSpLocks/>
            </p:cNvCxnSpPr>
            <p:nvPr/>
          </p:nvCxnSpPr>
          <p:spPr>
            <a:xfrm>
              <a:off x="4902456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ED74E2D9-4DAA-452E-A47D-4332A392F41D}"/>
                </a:ext>
              </a:extLst>
            </p:cNvPr>
            <p:cNvCxnSpPr>
              <a:cxnSpLocks/>
            </p:cNvCxnSpPr>
            <p:nvPr/>
          </p:nvCxnSpPr>
          <p:spPr>
            <a:xfrm>
              <a:off x="5312067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>
              <a:extLst>
                <a:ext uri="{FF2B5EF4-FFF2-40B4-BE49-F238E27FC236}">
                  <a16:creationId xmlns:a16="http://schemas.microsoft.com/office/drawing/2014/main" id="{518E0DE3-AF93-40CD-97F5-793872FB2B9F}"/>
                </a:ext>
              </a:extLst>
            </p:cNvPr>
            <p:cNvCxnSpPr>
              <a:cxnSpLocks/>
            </p:cNvCxnSpPr>
            <p:nvPr/>
          </p:nvCxnSpPr>
          <p:spPr>
            <a:xfrm>
              <a:off x="5938466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761BCF2B-29E2-43D9-AE0B-599A93B8C01B}"/>
                </a:ext>
              </a:extLst>
            </p:cNvPr>
            <p:cNvCxnSpPr>
              <a:cxnSpLocks/>
            </p:cNvCxnSpPr>
            <p:nvPr/>
          </p:nvCxnSpPr>
          <p:spPr>
            <a:xfrm>
              <a:off x="6550237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>
              <a:extLst>
                <a:ext uri="{FF2B5EF4-FFF2-40B4-BE49-F238E27FC236}">
                  <a16:creationId xmlns:a16="http://schemas.microsoft.com/office/drawing/2014/main" id="{AFB78C9B-F7B3-4F3E-9769-C3E9BFE1FB44}"/>
                </a:ext>
              </a:extLst>
            </p:cNvPr>
            <p:cNvCxnSpPr>
              <a:cxnSpLocks/>
            </p:cNvCxnSpPr>
            <p:nvPr/>
          </p:nvCxnSpPr>
          <p:spPr>
            <a:xfrm>
              <a:off x="7152229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299A3675-5177-4252-94EF-70560C9168F2}"/>
                </a:ext>
              </a:extLst>
            </p:cNvPr>
            <p:cNvCxnSpPr>
              <a:cxnSpLocks/>
            </p:cNvCxnSpPr>
            <p:nvPr/>
          </p:nvCxnSpPr>
          <p:spPr>
            <a:xfrm>
              <a:off x="7751299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5EE03AE8-1647-4A83-9EBB-3CC5ED2C2D40}"/>
                </a:ext>
              </a:extLst>
            </p:cNvPr>
            <p:cNvCxnSpPr>
              <a:cxnSpLocks/>
            </p:cNvCxnSpPr>
            <p:nvPr/>
          </p:nvCxnSpPr>
          <p:spPr>
            <a:xfrm>
              <a:off x="8364150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>
              <a:extLst>
                <a:ext uri="{FF2B5EF4-FFF2-40B4-BE49-F238E27FC236}">
                  <a16:creationId xmlns:a16="http://schemas.microsoft.com/office/drawing/2014/main" id="{E31A3FE8-40BF-464E-843C-646B8856AB18}"/>
                </a:ext>
              </a:extLst>
            </p:cNvPr>
            <p:cNvCxnSpPr>
              <a:cxnSpLocks/>
            </p:cNvCxnSpPr>
            <p:nvPr/>
          </p:nvCxnSpPr>
          <p:spPr>
            <a:xfrm>
              <a:off x="8977001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>
              <a:extLst>
                <a:ext uri="{FF2B5EF4-FFF2-40B4-BE49-F238E27FC236}">
                  <a16:creationId xmlns:a16="http://schemas.microsoft.com/office/drawing/2014/main" id="{CABF9BA7-2BE0-4171-B233-EB9ADDA9ADCE}"/>
                </a:ext>
              </a:extLst>
            </p:cNvPr>
            <p:cNvCxnSpPr>
              <a:cxnSpLocks/>
            </p:cNvCxnSpPr>
            <p:nvPr/>
          </p:nvCxnSpPr>
          <p:spPr>
            <a:xfrm>
              <a:off x="9589852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888BD6A9-C40B-4A60-8F39-8DDD20D3AB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02703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>
              <a:extLst>
                <a:ext uri="{FF2B5EF4-FFF2-40B4-BE49-F238E27FC236}">
                  <a16:creationId xmlns:a16="http://schemas.microsoft.com/office/drawing/2014/main" id="{FE349586-4C47-4859-8A1B-6E7837FF0342}"/>
                </a:ext>
              </a:extLst>
            </p:cNvPr>
            <p:cNvCxnSpPr>
              <a:cxnSpLocks/>
            </p:cNvCxnSpPr>
            <p:nvPr/>
          </p:nvCxnSpPr>
          <p:spPr>
            <a:xfrm>
              <a:off x="10693324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3CF3419D-7FD9-4782-887B-3F1A9175F6F3}"/>
                </a:ext>
              </a:extLst>
            </p:cNvPr>
            <p:cNvCxnSpPr>
              <a:cxnSpLocks/>
            </p:cNvCxnSpPr>
            <p:nvPr/>
          </p:nvCxnSpPr>
          <p:spPr>
            <a:xfrm>
              <a:off x="11175837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9" name="Picture 2" descr="Image result for databricks logo">
              <a:extLst>
                <a:ext uri="{FF2B5EF4-FFF2-40B4-BE49-F238E27FC236}">
                  <a16:creationId xmlns:a16="http://schemas.microsoft.com/office/drawing/2014/main" id="{A6E5139A-2BF7-4CB3-A80F-2FB8CF63C0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904"/>
            <a:stretch/>
          </p:blipFill>
          <p:spPr bwMode="auto">
            <a:xfrm>
              <a:off x="1555596" y="1437365"/>
              <a:ext cx="282506" cy="298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2" name="Picture 221">
              <a:extLst>
                <a:ext uri="{FF2B5EF4-FFF2-40B4-BE49-F238E27FC236}">
                  <a16:creationId xmlns:a16="http://schemas.microsoft.com/office/drawing/2014/main" id="{D1C050C2-548F-40DB-85E6-F1868484A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2100937" y="1490916"/>
              <a:ext cx="314782" cy="244830"/>
            </a:xfrm>
            <a:prstGeom prst="rect">
              <a:avLst/>
            </a:prstGeom>
          </p:spPr>
        </p:pic>
        <p:pic>
          <p:nvPicPr>
            <p:cNvPr id="225" name="Picture 224">
              <a:extLst>
                <a:ext uri="{FF2B5EF4-FFF2-40B4-BE49-F238E27FC236}">
                  <a16:creationId xmlns:a16="http://schemas.microsoft.com/office/drawing/2014/main" id="{8813ADD8-BCC3-4E00-A96D-11C1726D4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2734418" y="1503718"/>
              <a:ext cx="297651" cy="232028"/>
            </a:xfrm>
            <a:prstGeom prst="rect">
              <a:avLst/>
            </a:prstGeom>
          </p:spPr>
        </p:pic>
        <p:pic>
          <p:nvPicPr>
            <p:cNvPr id="228" name="Picture 227">
              <a:extLst>
                <a:ext uri="{FF2B5EF4-FFF2-40B4-BE49-F238E27FC236}">
                  <a16:creationId xmlns:a16="http://schemas.microsoft.com/office/drawing/2014/main" id="{7F7F938A-53F8-4FB3-804D-AF1FDF796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3376574" y="1501638"/>
              <a:ext cx="226239" cy="234108"/>
            </a:xfrm>
            <a:prstGeom prst="rect">
              <a:avLst/>
            </a:prstGeom>
          </p:spPr>
        </p:pic>
        <p:pic>
          <p:nvPicPr>
            <p:cNvPr id="237" name="Picture 236">
              <a:extLst>
                <a:ext uri="{FF2B5EF4-FFF2-40B4-BE49-F238E27FC236}">
                  <a16:creationId xmlns:a16="http://schemas.microsoft.com/office/drawing/2014/main" id="{7C6AE30D-26E7-423D-8F47-57380A21F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3876935" y="1487989"/>
              <a:ext cx="263488" cy="263486"/>
            </a:xfrm>
            <a:prstGeom prst="rect">
              <a:avLst/>
            </a:prstGeom>
          </p:spPr>
        </p:pic>
        <p:pic>
          <p:nvPicPr>
            <p:cNvPr id="246" name="Picture 245">
              <a:extLst>
                <a:ext uri="{FF2B5EF4-FFF2-40B4-BE49-F238E27FC236}">
                  <a16:creationId xmlns:a16="http://schemas.microsoft.com/office/drawing/2014/main" id="{F9EF8E11-C64C-4DE9-B236-52CC44DC4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4446563" y="1527052"/>
              <a:ext cx="285840" cy="214380"/>
            </a:xfrm>
            <a:prstGeom prst="rect">
              <a:avLst/>
            </a:prstGeom>
          </p:spPr>
        </p:pic>
        <p:pic>
          <p:nvPicPr>
            <p:cNvPr id="215" name="Picture 214">
              <a:extLst>
                <a:ext uri="{FF2B5EF4-FFF2-40B4-BE49-F238E27FC236}">
                  <a16:creationId xmlns:a16="http://schemas.microsoft.com/office/drawing/2014/main" id="{E8893603-07B5-4044-9199-0ECB04320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9051" y="1525154"/>
              <a:ext cx="209495" cy="209493"/>
            </a:xfrm>
            <a:prstGeom prst="rect">
              <a:avLst/>
            </a:prstGeom>
          </p:spPr>
        </p:pic>
        <p:pic>
          <p:nvPicPr>
            <p:cNvPr id="231" name="Picture 2" descr="Image result for azure analysis services">
              <a:hlinkClick r:id="rId62"/>
              <a:extLst>
                <a:ext uri="{FF2B5EF4-FFF2-40B4-BE49-F238E27FC236}">
                  <a16:creationId xmlns:a16="http://schemas.microsoft.com/office/drawing/2014/main" id="{9FB78B6A-BA89-4780-BCED-6B07A25962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278" r="15722"/>
            <a:stretch/>
          </p:blipFill>
          <p:spPr bwMode="auto">
            <a:xfrm>
              <a:off x="5491845" y="1531620"/>
              <a:ext cx="266837" cy="203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8" name="Picture 247">
              <a:extLst>
                <a:ext uri="{FF2B5EF4-FFF2-40B4-BE49-F238E27FC236}">
                  <a16:creationId xmlns:a16="http://schemas.microsoft.com/office/drawing/2014/main" id="{2D3EE120-0B57-46F5-9CD8-D5B39B811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6746487" y="1525154"/>
              <a:ext cx="209493" cy="209493"/>
            </a:xfrm>
            <a:prstGeom prst="rect">
              <a:avLst/>
            </a:prstGeom>
          </p:spPr>
        </p:pic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FA54D8E3-8682-4562-97C0-6C4B833E83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/>
            <a:stretch>
              <a:fillRect/>
            </a:stretch>
          </p:blipFill>
          <p:spPr>
            <a:xfrm>
              <a:off x="7347017" y="1525155"/>
              <a:ext cx="209494" cy="209492"/>
            </a:xfrm>
            <a:prstGeom prst="rect">
              <a:avLst/>
            </a:prstGeom>
          </p:spPr>
        </p:pic>
        <p:pic>
          <p:nvPicPr>
            <p:cNvPr id="318" name="Picture 317">
              <a:extLst>
                <a:ext uri="{FF2B5EF4-FFF2-40B4-BE49-F238E27FC236}">
                  <a16:creationId xmlns:a16="http://schemas.microsoft.com/office/drawing/2014/main" id="{8F7A0CBA-7DFF-4844-B7EA-4B91DB21BC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4"/>
            <a:stretch>
              <a:fillRect/>
            </a:stretch>
          </p:blipFill>
          <p:spPr>
            <a:xfrm>
              <a:off x="7952977" y="1525155"/>
              <a:ext cx="209494" cy="209492"/>
            </a:xfrm>
            <a:prstGeom prst="rect">
              <a:avLst/>
            </a:prstGeom>
          </p:spPr>
        </p:pic>
        <p:pic>
          <p:nvPicPr>
            <p:cNvPr id="319" name="Picture 318">
              <a:extLst>
                <a:ext uri="{FF2B5EF4-FFF2-40B4-BE49-F238E27FC236}">
                  <a16:creationId xmlns:a16="http://schemas.microsoft.com/office/drawing/2014/main" id="{57D09070-DD79-47B9-9ECA-03C3B785A4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8513184" y="1490916"/>
              <a:ext cx="314782" cy="244830"/>
            </a:xfrm>
            <a:prstGeom prst="rect">
              <a:avLst/>
            </a:prstGeom>
          </p:spPr>
        </p:pic>
        <p:pic>
          <p:nvPicPr>
            <p:cNvPr id="320" name="Picture 319">
              <a:extLst>
                <a:ext uri="{FF2B5EF4-FFF2-40B4-BE49-F238E27FC236}">
                  <a16:creationId xmlns:a16="http://schemas.microsoft.com/office/drawing/2014/main" id="{EDB3AC09-026C-4074-A33B-EDEF8A04C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9126035" y="1490916"/>
              <a:ext cx="314782" cy="244830"/>
            </a:xfrm>
            <a:prstGeom prst="rect">
              <a:avLst/>
            </a:prstGeom>
          </p:spPr>
        </p:pic>
        <p:pic>
          <p:nvPicPr>
            <p:cNvPr id="321" name="Picture 320">
              <a:extLst>
                <a:ext uri="{FF2B5EF4-FFF2-40B4-BE49-F238E27FC236}">
                  <a16:creationId xmlns:a16="http://schemas.microsoft.com/office/drawing/2014/main" id="{AAC7D55F-C035-4547-B255-8DF7BD924C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9738886" y="1490916"/>
              <a:ext cx="314782" cy="244830"/>
            </a:xfrm>
            <a:prstGeom prst="rect">
              <a:avLst/>
            </a:prstGeom>
          </p:spPr>
        </p:pic>
        <p:pic>
          <p:nvPicPr>
            <p:cNvPr id="260" name="Picture 259">
              <a:extLst>
                <a:ext uri="{FF2B5EF4-FFF2-40B4-BE49-F238E27FC236}">
                  <a16:creationId xmlns:a16="http://schemas.microsoft.com/office/drawing/2014/main" id="{5C093978-3167-4DED-878A-197C00744A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5"/>
            <a:stretch>
              <a:fillRect/>
            </a:stretch>
          </p:blipFill>
          <p:spPr>
            <a:xfrm>
              <a:off x="10320224" y="1490917"/>
              <a:ext cx="255578" cy="255576"/>
            </a:xfrm>
            <a:prstGeom prst="rect">
              <a:avLst/>
            </a:prstGeom>
          </p:spPr>
        </p:pic>
        <p:pic>
          <p:nvPicPr>
            <p:cNvPr id="263" name="Picture 262">
              <a:extLst>
                <a:ext uri="{FF2B5EF4-FFF2-40B4-BE49-F238E27FC236}">
                  <a16:creationId xmlns:a16="http://schemas.microsoft.com/office/drawing/2014/main" id="{68574BBE-022F-40D5-ACD3-1EF1B92C1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6"/>
            <a:stretch>
              <a:fillRect/>
            </a:stretch>
          </p:blipFill>
          <p:spPr>
            <a:xfrm>
              <a:off x="10819316" y="1504117"/>
              <a:ext cx="230529" cy="230530"/>
            </a:xfrm>
            <a:prstGeom prst="rect">
              <a:avLst/>
            </a:prstGeom>
          </p:spPr>
        </p:pic>
        <p:pic>
          <p:nvPicPr>
            <p:cNvPr id="266" name="Picture 265">
              <a:extLst>
                <a:ext uri="{FF2B5EF4-FFF2-40B4-BE49-F238E27FC236}">
                  <a16:creationId xmlns:a16="http://schemas.microsoft.com/office/drawing/2014/main" id="{621ACB79-BCDF-4FC8-8FA1-C6AFAB2CCE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/>
            <a:stretch>
              <a:fillRect/>
            </a:stretch>
          </p:blipFill>
          <p:spPr>
            <a:xfrm>
              <a:off x="11298423" y="1504117"/>
              <a:ext cx="237315" cy="237315"/>
            </a:xfrm>
            <a:prstGeom prst="rect">
              <a:avLst/>
            </a:prstGeom>
          </p:spPr>
        </p:pic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AB814CF5-6C7B-47A7-B4E8-000726960178}"/>
                </a:ext>
              </a:extLst>
            </p:cNvPr>
            <p:cNvCxnSpPr>
              <a:cxnSpLocks/>
            </p:cNvCxnSpPr>
            <p:nvPr/>
          </p:nvCxnSpPr>
          <p:spPr>
            <a:xfrm>
              <a:off x="11623174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3" name="Picture 252">
              <a:extLst>
                <a:ext uri="{FF2B5EF4-FFF2-40B4-BE49-F238E27FC236}">
                  <a16:creationId xmlns:a16="http://schemas.microsoft.com/office/drawing/2014/main" id="{CECEC796-42EF-4420-BD6E-CD7EAD29E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8"/>
            <a:stretch>
              <a:fillRect/>
            </a:stretch>
          </p:blipFill>
          <p:spPr>
            <a:xfrm>
              <a:off x="11794775" y="1520399"/>
              <a:ext cx="237744" cy="237744"/>
            </a:xfrm>
            <a:prstGeom prst="rect">
              <a:avLst/>
            </a:prstGeom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6E42DAE8-46FF-4D72-98AB-958FAD0CCD0B}"/>
                </a:ext>
              </a:extLst>
            </p:cNvPr>
            <p:cNvSpPr txBox="1"/>
            <p:nvPr/>
          </p:nvSpPr>
          <p:spPr>
            <a:xfrm>
              <a:off x="11675655" y="1815020"/>
              <a:ext cx="47598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>
              <a:defPPr>
                <a:defRPr lang="en-US"/>
              </a:defPPr>
              <a:lvl1pPr marR="0" lvl="0" indent="0" algn="ctr" defTabSz="24494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Segoe UI"/>
                </a:defRPr>
              </a:lvl1pPr>
            </a:lstStyle>
            <a:p>
              <a:pPr marL="0" marR="0" lvl="0" indent="0" algn="ctr" defTabSz="24494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6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ata Shar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30" name="Picture 329">
              <a:extLst>
                <a:ext uri="{FF2B5EF4-FFF2-40B4-BE49-F238E27FC236}">
                  <a16:creationId xmlns:a16="http://schemas.microsoft.com/office/drawing/2014/main" id="{D155D962-849A-44D8-9283-3E41060E7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6117556" y="1498466"/>
              <a:ext cx="256032" cy="256032"/>
            </a:xfrm>
            <a:prstGeom prst="rect">
              <a:avLst/>
            </a:prstGeom>
          </p:spPr>
        </p:pic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2847D84B-9A6A-4BC0-81AD-C50C1E581990}"/>
                </a:ext>
              </a:extLst>
            </p:cNvPr>
            <p:cNvSpPr txBox="1"/>
            <p:nvPr/>
          </p:nvSpPr>
          <p:spPr>
            <a:xfrm>
              <a:off x="5827406" y="1830772"/>
              <a:ext cx="835049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9814">
                <a:lnSpc>
                  <a:spcPct val="90000"/>
                </a:lnSpc>
                <a:defRPr sz="510">
                  <a:solidFill>
                    <a:srgbClr val="000000"/>
                  </a:solidFill>
                  <a:latin typeface="Segoe UI"/>
                </a:defRPr>
              </a:lvl1pPr>
            </a:lstStyle>
            <a:p>
              <a:pPr marL="0" marR="0" lvl="0" indent="0" algn="ctr" defTabSz="24489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ynapse Analyt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A7D7F64-6315-4AB5-BEF3-E9D7F4201D4A}"/>
              </a:ext>
            </a:extLst>
          </p:cNvPr>
          <p:cNvGrpSpPr/>
          <p:nvPr/>
        </p:nvGrpSpPr>
        <p:grpSpPr>
          <a:xfrm>
            <a:off x="304975" y="2270887"/>
            <a:ext cx="11887025" cy="1463042"/>
            <a:chOff x="304975" y="2270887"/>
            <a:chExt cx="11887025" cy="1463042"/>
          </a:xfrm>
        </p:grpSpPr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C3A74168-BC8D-494B-8012-2C98CF6EA164}"/>
                </a:ext>
              </a:extLst>
            </p:cNvPr>
            <p:cNvSpPr/>
            <p:nvPr/>
          </p:nvSpPr>
          <p:spPr bwMode="auto">
            <a:xfrm>
              <a:off x="1402080" y="2270888"/>
              <a:ext cx="10789920" cy="14630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336" name="Picture 2" descr="Image result for databricks logo">
              <a:extLst>
                <a:ext uri="{FF2B5EF4-FFF2-40B4-BE49-F238E27FC236}">
                  <a16:creationId xmlns:a16="http://schemas.microsoft.com/office/drawing/2014/main" id="{2FAD1E14-A9CB-4D2F-A3D6-AE9BF99880A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904"/>
            <a:stretch/>
          </p:blipFill>
          <p:spPr bwMode="auto">
            <a:xfrm>
              <a:off x="1495819" y="2282054"/>
              <a:ext cx="282506" cy="298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1" name="Picture 340">
              <a:extLst>
                <a:ext uri="{FF2B5EF4-FFF2-40B4-BE49-F238E27FC236}">
                  <a16:creationId xmlns:a16="http://schemas.microsoft.com/office/drawing/2014/main" id="{3A9F4E07-C093-42A1-B1FA-19920D427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/>
            <a:stretch>
              <a:fillRect/>
            </a:stretch>
          </p:blipFill>
          <p:spPr>
            <a:xfrm>
              <a:off x="2531702" y="2334656"/>
              <a:ext cx="118588" cy="229525"/>
            </a:xfrm>
            <a:prstGeom prst="rect">
              <a:avLst/>
            </a:prstGeom>
          </p:spPr>
        </p:pic>
        <p:pic>
          <p:nvPicPr>
            <p:cNvPr id="344" name="Picture 343">
              <a:extLst>
                <a:ext uri="{FF2B5EF4-FFF2-40B4-BE49-F238E27FC236}">
                  <a16:creationId xmlns:a16="http://schemas.microsoft.com/office/drawing/2014/main" id="{23BD59B1-7888-4D7F-9009-8FD125A3D8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/>
            <a:stretch>
              <a:fillRect/>
            </a:stretch>
          </p:blipFill>
          <p:spPr>
            <a:xfrm>
              <a:off x="4445487" y="2356315"/>
              <a:ext cx="152435" cy="207866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4283C19C-0D38-4BF1-B8B0-22B9DA5CF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72"/>
            <a:stretch>
              <a:fillRect/>
            </a:stretch>
          </p:blipFill>
          <p:spPr>
            <a:xfrm>
              <a:off x="4899610" y="2356315"/>
              <a:ext cx="243832" cy="243831"/>
            </a:xfrm>
            <a:prstGeom prst="rect">
              <a:avLst/>
            </a:prstGeom>
          </p:spPr>
        </p:pic>
        <p:pic>
          <p:nvPicPr>
            <p:cNvPr id="350" name="Picture 349">
              <a:extLst>
                <a:ext uri="{FF2B5EF4-FFF2-40B4-BE49-F238E27FC236}">
                  <a16:creationId xmlns:a16="http://schemas.microsoft.com/office/drawing/2014/main" id="{E7B888EB-D882-46F9-B94C-5B507923E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3"/>
            <a:stretch>
              <a:fillRect/>
            </a:stretch>
          </p:blipFill>
          <p:spPr>
            <a:xfrm>
              <a:off x="5387575" y="2363930"/>
              <a:ext cx="228600" cy="228600"/>
            </a:xfrm>
            <a:prstGeom prst="rect">
              <a:avLst/>
            </a:prstGeom>
          </p:spPr>
        </p:pic>
        <p:pic>
          <p:nvPicPr>
            <p:cNvPr id="353" name="Picture 352">
              <a:extLst>
                <a:ext uri="{FF2B5EF4-FFF2-40B4-BE49-F238E27FC236}">
                  <a16:creationId xmlns:a16="http://schemas.microsoft.com/office/drawing/2014/main" id="{86526CB7-E42A-4C46-8F42-5E0634779D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4"/>
            <a:stretch>
              <a:fillRect/>
            </a:stretch>
          </p:blipFill>
          <p:spPr>
            <a:xfrm>
              <a:off x="5871448" y="2363930"/>
              <a:ext cx="228600" cy="228600"/>
            </a:xfrm>
            <a:prstGeom prst="rect">
              <a:avLst/>
            </a:prstGeom>
          </p:spPr>
        </p:pic>
        <p:pic>
          <p:nvPicPr>
            <p:cNvPr id="356" name="Picture 355">
              <a:extLst>
                <a:ext uri="{FF2B5EF4-FFF2-40B4-BE49-F238E27FC236}">
                  <a16:creationId xmlns:a16="http://schemas.microsoft.com/office/drawing/2014/main" id="{5920F94F-9189-48EF-B730-2368D4FA8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5"/>
            <a:stretch>
              <a:fillRect/>
            </a:stretch>
          </p:blipFill>
          <p:spPr>
            <a:xfrm>
              <a:off x="6327100" y="2363930"/>
              <a:ext cx="228600" cy="228600"/>
            </a:xfrm>
            <a:prstGeom prst="rect">
              <a:avLst/>
            </a:prstGeom>
          </p:spPr>
        </p:pic>
        <p:pic>
          <p:nvPicPr>
            <p:cNvPr id="359" name="Picture 358">
              <a:extLst>
                <a:ext uri="{FF2B5EF4-FFF2-40B4-BE49-F238E27FC236}">
                  <a16:creationId xmlns:a16="http://schemas.microsoft.com/office/drawing/2014/main" id="{E2FB0BDC-F0B7-47F6-A4BA-4E2DD246F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6"/>
            <a:stretch>
              <a:fillRect/>
            </a:stretch>
          </p:blipFill>
          <p:spPr>
            <a:xfrm>
              <a:off x="6754395" y="2363930"/>
              <a:ext cx="228600" cy="228600"/>
            </a:xfrm>
            <a:prstGeom prst="rect">
              <a:avLst/>
            </a:prstGeom>
          </p:spPr>
        </p:pic>
        <p:pic>
          <p:nvPicPr>
            <p:cNvPr id="362" name="Picture 361">
              <a:extLst>
                <a:ext uri="{FF2B5EF4-FFF2-40B4-BE49-F238E27FC236}">
                  <a16:creationId xmlns:a16="http://schemas.microsoft.com/office/drawing/2014/main" id="{F25E5EAD-0F21-4626-90B1-25C7C94E9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7"/>
            <a:stretch>
              <a:fillRect/>
            </a:stretch>
          </p:blipFill>
          <p:spPr>
            <a:xfrm>
              <a:off x="7181690" y="2363930"/>
              <a:ext cx="228600" cy="228600"/>
            </a:xfrm>
            <a:prstGeom prst="rect">
              <a:avLst/>
            </a:prstGeom>
          </p:spPr>
        </p:pic>
        <p:pic>
          <p:nvPicPr>
            <p:cNvPr id="365" name="Picture 364">
              <a:extLst>
                <a:ext uri="{FF2B5EF4-FFF2-40B4-BE49-F238E27FC236}">
                  <a16:creationId xmlns:a16="http://schemas.microsoft.com/office/drawing/2014/main" id="{1DDC1533-C62C-47D7-82EA-45C2A4A40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8"/>
            <a:stretch>
              <a:fillRect/>
            </a:stretch>
          </p:blipFill>
          <p:spPr>
            <a:xfrm>
              <a:off x="7608985" y="2363930"/>
              <a:ext cx="228600" cy="228600"/>
            </a:xfrm>
            <a:prstGeom prst="rect">
              <a:avLst/>
            </a:prstGeom>
          </p:spPr>
        </p:pic>
        <p:pic>
          <p:nvPicPr>
            <p:cNvPr id="368" name="Picture 367">
              <a:extLst>
                <a:ext uri="{FF2B5EF4-FFF2-40B4-BE49-F238E27FC236}">
                  <a16:creationId xmlns:a16="http://schemas.microsoft.com/office/drawing/2014/main" id="{16986536-E849-4245-ACF7-A24F376F8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9"/>
            <a:stretch>
              <a:fillRect/>
            </a:stretch>
          </p:blipFill>
          <p:spPr>
            <a:xfrm>
              <a:off x="8036279" y="2363930"/>
              <a:ext cx="228603" cy="228600"/>
            </a:xfrm>
            <a:prstGeom prst="rect">
              <a:avLst/>
            </a:prstGeom>
          </p:spPr>
        </p:pic>
        <p:pic>
          <p:nvPicPr>
            <p:cNvPr id="371" name="Picture 370">
              <a:extLst>
                <a:ext uri="{FF2B5EF4-FFF2-40B4-BE49-F238E27FC236}">
                  <a16:creationId xmlns:a16="http://schemas.microsoft.com/office/drawing/2014/main" id="{66B459B3-3864-475D-85F6-FDF673095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0"/>
            <a:stretch>
              <a:fillRect/>
            </a:stretch>
          </p:blipFill>
          <p:spPr>
            <a:xfrm>
              <a:off x="8463575" y="2363930"/>
              <a:ext cx="228600" cy="228600"/>
            </a:xfrm>
            <a:prstGeom prst="rect">
              <a:avLst/>
            </a:prstGeom>
          </p:spPr>
        </p:pic>
        <p:pic>
          <p:nvPicPr>
            <p:cNvPr id="374" name="Picture 373">
              <a:extLst>
                <a:ext uri="{FF2B5EF4-FFF2-40B4-BE49-F238E27FC236}">
                  <a16:creationId xmlns:a16="http://schemas.microsoft.com/office/drawing/2014/main" id="{B8A2B9AA-64D5-40E2-A81B-2DF2563FF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1"/>
            <a:stretch>
              <a:fillRect/>
            </a:stretch>
          </p:blipFill>
          <p:spPr>
            <a:xfrm>
              <a:off x="8890870" y="2363930"/>
              <a:ext cx="228600" cy="228600"/>
            </a:xfrm>
            <a:prstGeom prst="rect">
              <a:avLst/>
            </a:prstGeom>
          </p:spPr>
        </p:pic>
        <p:pic>
          <p:nvPicPr>
            <p:cNvPr id="377" name="Picture 376">
              <a:extLst>
                <a:ext uri="{FF2B5EF4-FFF2-40B4-BE49-F238E27FC236}">
                  <a16:creationId xmlns:a16="http://schemas.microsoft.com/office/drawing/2014/main" id="{28F15494-8D38-472B-A1B3-D88690E9D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2"/>
            <a:stretch>
              <a:fillRect/>
            </a:stretch>
          </p:blipFill>
          <p:spPr>
            <a:xfrm>
              <a:off x="9373680" y="2363930"/>
              <a:ext cx="228600" cy="228600"/>
            </a:xfrm>
            <a:prstGeom prst="rect">
              <a:avLst/>
            </a:prstGeom>
          </p:spPr>
        </p:pic>
        <p:pic>
          <p:nvPicPr>
            <p:cNvPr id="380" name="Picture 379">
              <a:extLst>
                <a:ext uri="{FF2B5EF4-FFF2-40B4-BE49-F238E27FC236}">
                  <a16:creationId xmlns:a16="http://schemas.microsoft.com/office/drawing/2014/main" id="{B1F5F8B7-03FF-4795-A58F-9CFCA114C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3"/>
            <a:stretch>
              <a:fillRect/>
            </a:stretch>
          </p:blipFill>
          <p:spPr>
            <a:xfrm>
              <a:off x="9878443" y="2363930"/>
              <a:ext cx="228600" cy="228600"/>
            </a:xfrm>
            <a:prstGeom prst="rect">
              <a:avLst/>
            </a:prstGeom>
          </p:spPr>
        </p:pic>
        <p:pic>
          <p:nvPicPr>
            <p:cNvPr id="383" name="Picture 382">
              <a:extLst>
                <a:ext uri="{FF2B5EF4-FFF2-40B4-BE49-F238E27FC236}">
                  <a16:creationId xmlns:a16="http://schemas.microsoft.com/office/drawing/2014/main" id="{B30A8F10-1EAD-4854-9901-654530797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4"/>
            <a:stretch>
              <a:fillRect/>
            </a:stretch>
          </p:blipFill>
          <p:spPr>
            <a:xfrm>
              <a:off x="10364540" y="2363930"/>
              <a:ext cx="228603" cy="228600"/>
            </a:xfrm>
            <a:prstGeom prst="rect">
              <a:avLst/>
            </a:prstGeom>
          </p:spPr>
        </p:pic>
        <p:pic>
          <p:nvPicPr>
            <p:cNvPr id="386" name="Picture 385">
              <a:extLst>
                <a:ext uri="{FF2B5EF4-FFF2-40B4-BE49-F238E27FC236}">
                  <a16:creationId xmlns:a16="http://schemas.microsoft.com/office/drawing/2014/main" id="{D5B2A4EF-EE9F-42D1-BACB-7E0988522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5"/>
            <a:stretch>
              <a:fillRect/>
            </a:stretch>
          </p:blipFill>
          <p:spPr>
            <a:xfrm>
              <a:off x="10940288" y="2363930"/>
              <a:ext cx="228603" cy="228600"/>
            </a:xfrm>
            <a:prstGeom prst="rect">
              <a:avLst/>
            </a:prstGeom>
          </p:spPr>
        </p:pic>
        <p:pic>
          <p:nvPicPr>
            <p:cNvPr id="389" name="Picture 388">
              <a:extLst>
                <a:ext uri="{FF2B5EF4-FFF2-40B4-BE49-F238E27FC236}">
                  <a16:creationId xmlns:a16="http://schemas.microsoft.com/office/drawing/2014/main" id="{8962C147-B6AF-4578-B8EF-DF84541E3A83}"/>
                </a:ext>
              </a:extLst>
            </p:cNvPr>
            <p:cNvPicPr>
              <a:picLocks noChangeAspect="1"/>
            </p:cNvPicPr>
            <p:nvPr/>
          </p:nvPicPr>
          <p:blipFill>
            <a:blip r:embed="rId86"/>
            <a:stretch>
              <a:fillRect/>
            </a:stretch>
          </p:blipFill>
          <p:spPr>
            <a:xfrm>
              <a:off x="11529720" y="2363930"/>
              <a:ext cx="228600" cy="228600"/>
            </a:xfrm>
            <a:prstGeom prst="rect">
              <a:avLst/>
            </a:prstGeom>
          </p:spPr>
        </p:pic>
        <p:pic>
          <p:nvPicPr>
            <p:cNvPr id="392" name="Picture 391">
              <a:extLst>
                <a:ext uri="{FF2B5EF4-FFF2-40B4-BE49-F238E27FC236}">
                  <a16:creationId xmlns:a16="http://schemas.microsoft.com/office/drawing/2014/main" id="{067290FB-6D90-4991-A409-9CA46469F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7"/>
            <a:stretch>
              <a:fillRect/>
            </a:stretch>
          </p:blipFill>
          <p:spPr>
            <a:xfrm>
              <a:off x="1512174" y="3015875"/>
              <a:ext cx="228600" cy="228600"/>
            </a:xfrm>
            <a:prstGeom prst="rect">
              <a:avLst/>
            </a:prstGeom>
          </p:spPr>
        </p:pic>
        <p:pic>
          <p:nvPicPr>
            <p:cNvPr id="395" name="Picture 394">
              <a:extLst>
                <a:ext uri="{FF2B5EF4-FFF2-40B4-BE49-F238E27FC236}">
                  <a16:creationId xmlns:a16="http://schemas.microsoft.com/office/drawing/2014/main" id="{821C264F-8393-44E9-A48E-D9AFEC143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3"/>
            <a:stretch>
              <a:fillRect/>
            </a:stretch>
          </p:blipFill>
          <p:spPr>
            <a:xfrm>
              <a:off x="2001604" y="3015875"/>
              <a:ext cx="228601" cy="228600"/>
            </a:xfrm>
            <a:prstGeom prst="rect">
              <a:avLst/>
            </a:prstGeom>
          </p:spPr>
        </p:pic>
        <p:pic>
          <p:nvPicPr>
            <p:cNvPr id="398" name="Picture 397">
              <a:extLst>
                <a:ext uri="{FF2B5EF4-FFF2-40B4-BE49-F238E27FC236}">
                  <a16:creationId xmlns:a16="http://schemas.microsoft.com/office/drawing/2014/main" id="{3CE8DADA-8396-467B-8A6F-A4464DBA9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8"/>
            <a:stretch>
              <a:fillRect/>
            </a:stretch>
          </p:blipFill>
          <p:spPr>
            <a:xfrm>
              <a:off x="2518126" y="3015875"/>
              <a:ext cx="228601" cy="228600"/>
            </a:xfrm>
            <a:prstGeom prst="rect">
              <a:avLst/>
            </a:prstGeom>
          </p:spPr>
        </p:pic>
        <p:pic>
          <p:nvPicPr>
            <p:cNvPr id="401" name="Picture 400">
              <a:extLst>
                <a:ext uri="{FF2B5EF4-FFF2-40B4-BE49-F238E27FC236}">
                  <a16:creationId xmlns:a16="http://schemas.microsoft.com/office/drawing/2014/main" id="{B48BB6C9-2B69-41B2-AC6D-AFBB63128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9"/>
            <a:stretch>
              <a:fillRect/>
            </a:stretch>
          </p:blipFill>
          <p:spPr>
            <a:xfrm>
              <a:off x="3048194" y="3015875"/>
              <a:ext cx="228601" cy="228600"/>
            </a:xfrm>
            <a:prstGeom prst="rect">
              <a:avLst/>
            </a:prstGeom>
          </p:spPr>
        </p:pic>
        <p:pic>
          <p:nvPicPr>
            <p:cNvPr id="404" name="Picture 403">
              <a:extLst>
                <a:ext uri="{FF2B5EF4-FFF2-40B4-BE49-F238E27FC236}">
                  <a16:creationId xmlns:a16="http://schemas.microsoft.com/office/drawing/2014/main" id="{96893426-2530-493B-BBA3-2534031DF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90"/>
            <a:stretch>
              <a:fillRect/>
            </a:stretch>
          </p:blipFill>
          <p:spPr>
            <a:xfrm>
              <a:off x="3493687" y="3015875"/>
              <a:ext cx="228601" cy="228600"/>
            </a:xfrm>
            <a:prstGeom prst="rect">
              <a:avLst/>
            </a:prstGeom>
          </p:spPr>
        </p:pic>
        <p:pic>
          <p:nvPicPr>
            <p:cNvPr id="407" name="Picture 406">
              <a:extLst>
                <a:ext uri="{FF2B5EF4-FFF2-40B4-BE49-F238E27FC236}">
                  <a16:creationId xmlns:a16="http://schemas.microsoft.com/office/drawing/2014/main" id="{16A4BE8D-6FB0-4204-9418-49C1713A20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1"/>
            <a:stretch>
              <a:fillRect/>
            </a:stretch>
          </p:blipFill>
          <p:spPr>
            <a:xfrm>
              <a:off x="3929057" y="3015875"/>
              <a:ext cx="228601" cy="228600"/>
            </a:xfrm>
            <a:prstGeom prst="rect">
              <a:avLst/>
            </a:prstGeom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F0F1D40E-D71B-461F-A1E3-7B8B8E0C94CF}"/>
                </a:ext>
              </a:extLst>
            </p:cNvPr>
            <p:cNvPicPr>
              <a:picLocks noChangeAspect="1"/>
            </p:cNvPicPr>
            <p:nvPr/>
          </p:nvPicPr>
          <p:blipFill>
            <a:blip r:embed="rId92"/>
            <a:stretch>
              <a:fillRect/>
            </a:stretch>
          </p:blipFill>
          <p:spPr>
            <a:xfrm>
              <a:off x="4450482" y="3015875"/>
              <a:ext cx="228601" cy="228600"/>
            </a:xfrm>
            <a:prstGeom prst="rect">
              <a:avLst/>
            </a:prstGeom>
          </p:spPr>
        </p:pic>
        <p:pic>
          <p:nvPicPr>
            <p:cNvPr id="413" name="Picture 412">
              <a:extLst>
                <a:ext uri="{FF2B5EF4-FFF2-40B4-BE49-F238E27FC236}">
                  <a16:creationId xmlns:a16="http://schemas.microsoft.com/office/drawing/2014/main" id="{F451E98C-5DB2-487B-866E-8E5866F1C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93"/>
            <a:stretch>
              <a:fillRect/>
            </a:stretch>
          </p:blipFill>
          <p:spPr>
            <a:xfrm>
              <a:off x="4980160" y="3015875"/>
              <a:ext cx="228601" cy="228600"/>
            </a:xfrm>
            <a:prstGeom prst="rect">
              <a:avLst/>
            </a:prstGeom>
          </p:spPr>
        </p:pic>
        <p:pic>
          <p:nvPicPr>
            <p:cNvPr id="416" name="Picture 415">
              <a:extLst>
                <a:ext uri="{FF2B5EF4-FFF2-40B4-BE49-F238E27FC236}">
                  <a16:creationId xmlns:a16="http://schemas.microsoft.com/office/drawing/2014/main" id="{68180E75-BB1B-4323-B1C9-98840E7F3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94"/>
            <a:stretch>
              <a:fillRect/>
            </a:stretch>
          </p:blipFill>
          <p:spPr>
            <a:xfrm>
              <a:off x="5473666" y="3015875"/>
              <a:ext cx="228601" cy="228600"/>
            </a:xfrm>
            <a:prstGeom prst="rect">
              <a:avLst/>
            </a:prstGeom>
          </p:spPr>
        </p:pic>
        <p:pic>
          <p:nvPicPr>
            <p:cNvPr id="419" name="Picture 418">
              <a:extLst>
                <a:ext uri="{FF2B5EF4-FFF2-40B4-BE49-F238E27FC236}">
                  <a16:creationId xmlns:a16="http://schemas.microsoft.com/office/drawing/2014/main" id="{68442708-07D0-42BD-B33B-2CAAC14F4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5"/>
            <a:stretch>
              <a:fillRect/>
            </a:stretch>
          </p:blipFill>
          <p:spPr>
            <a:xfrm>
              <a:off x="5947020" y="3015875"/>
              <a:ext cx="228602" cy="228600"/>
            </a:xfrm>
            <a:prstGeom prst="rect">
              <a:avLst/>
            </a:prstGeom>
          </p:spPr>
        </p:pic>
        <p:pic>
          <p:nvPicPr>
            <p:cNvPr id="422" name="Picture 421">
              <a:extLst>
                <a:ext uri="{FF2B5EF4-FFF2-40B4-BE49-F238E27FC236}">
                  <a16:creationId xmlns:a16="http://schemas.microsoft.com/office/drawing/2014/main" id="{ABC69FB2-FB04-444E-8AB5-C87F4CE6B8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6"/>
            <a:stretch>
              <a:fillRect/>
            </a:stretch>
          </p:blipFill>
          <p:spPr>
            <a:xfrm>
              <a:off x="6378863" y="3015875"/>
              <a:ext cx="228601" cy="228600"/>
            </a:xfrm>
            <a:prstGeom prst="rect">
              <a:avLst/>
            </a:prstGeom>
          </p:spPr>
        </p:pic>
        <p:pic>
          <p:nvPicPr>
            <p:cNvPr id="425" name="Picture 424">
              <a:extLst>
                <a:ext uri="{FF2B5EF4-FFF2-40B4-BE49-F238E27FC236}">
                  <a16:creationId xmlns:a16="http://schemas.microsoft.com/office/drawing/2014/main" id="{3D727184-F2C2-424E-A7FA-E1E5F288B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7"/>
            <a:stretch>
              <a:fillRect/>
            </a:stretch>
          </p:blipFill>
          <p:spPr>
            <a:xfrm>
              <a:off x="6803932" y="3015875"/>
              <a:ext cx="228601" cy="228600"/>
            </a:xfrm>
            <a:prstGeom prst="rect">
              <a:avLst/>
            </a:prstGeom>
          </p:spPr>
        </p:pic>
        <p:pic>
          <p:nvPicPr>
            <p:cNvPr id="428" name="Picture 427">
              <a:extLst>
                <a:ext uri="{FF2B5EF4-FFF2-40B4-BE49-F238E27FC236}">
                  <a16:creationId xmlns:a16="http://schemas.microsoft.com/office/drawing/2014/main" id="{018C0AAC-1611-4970-ABEC-5E9A75F60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8"/>
            <a:stretch>
              <a:fillRect/>
            </a:stretch>
          </p:blipFill>
          <p:spPr>
            <a:xfrm>
              <a:off x="7218525" y="3015875"/>
              <a:ext cx="228600" cy="228600"/>
            </a:xfrm>
            <a:prstGeom prst="rect">
              <a:avLst/>
            </a:prstGeom>
          </p:spPr>
        </p:pic>
        <p:pic>
          <p:nvPicPr>
            <p:cNvPr id="431" name="Picture 430">
              <a:extLst>
                <a:ext uri="{FF2B5EF4-FFF2-40B4-BE49-F238E27FC236}">
                  <a16:creationId xmlns:a16="http://schemas.microsoft.com/office/drawing/2014/main" id="{ED69AB90-A5C5-4063-ABA2-C17071AFE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9"/>
            <a:stretch>
              <a:fillRect/>
            </a:stretch>
          </p:blipFill>
          <p:spPr>
            <a:xfrm>
              <a:off x="7604908" y="3015875"/>
              <a:ext cx="228599" cy="228600"/>
            </a:xfrm>
            <a:prstGeom prst="rect">
              <a:avLst/>
            </a:prstGeom>
          </p:spPr>
        </p:pic>
        <p:pic>
          <p:nvPicPr>
            <p:cNvPr id="434" name="Picture 433">
              <a:extLst>
                <a:ext uri="{FF2B5EF4-FFF2-40B4-BE49-F238E27FC236}">
                  <a16:creationId xmlns:a16="http://schemas.microsoft.com/office/drawing/2014/main" id="{79AB4307-CE3A-4264-AF19-FD70CFEFCD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0"/>
            <a:stretch>
              <a:fillRect/>
            </a:stretch>
          </p:blipFill>
          <p:spPr>
            <a:xfrm>
              <a:off x="7975425" y="3015875"/>
              <a:ext cx="228600" cy="228600"/>
            </a:xfrm>
            <a:prstGeom prst="rect">
              <a:avLst/>
            </a:prstGeom>
          </p:spPr>
        </p:pic>
        <p:pic>
          <p:nvPicPr>
            <p:cNvPr id="437" name="Picture 436">
              <a:extLst>
                <a:ext uri="{FF2B5EF4-FFF2-40B4-BE49-F238E27FC236}">
                  <a16:creationId xmlns:a16="http://schemas.microsoft.com/office/drawing/2014/main" id="{D194034D-7B01-4ED2-BB41-48FC090628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1"/>
            <a:stretch>
              <a:fillRect/>
            </a:stretch>
          </p:blipFill>
          <p:spPr>
            <a:xfrm>
              <a:off x="8335717" y="3015875"/>
              <a:ext cx="228601" cy="228600"/>
            </a:xfrm>
            <a:prstGeom prst="rect">
              <a:avLst/>
            </a:prstGeom>
          </p:spPr>
        </p:pic>
        <p:pic>
          <p:nvPicPr>
            <p:cNvPr id="440" name="Picture 439">
              <a:extLst>
                <a:ext uri="{FF2B5EF4-FFF2-40B4-BE49-F238E27FC236}">
                  <a16:creationId xmlns:a16="http://schemas.microsoft.com/office/drawing/2014/main" id="{8A63A779-F136-449E-A27A-D5C29F979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2"/>
            <a:stretch>
              <a:fillRect/>
            </a:stretch>
          </p:blipFill>
          <p:spPr>
            <a:xfrm>
              <a:off x="8705547" y="3015875"/>
              <a:ext cx="228600" cy="228600"/>
            </a:xfrm>
            <a:prstGeom prst="rect">
              <a:avLst/>
            </a:prstGeom>
          </p:spPr>
        </p:pic>
        <p:pic>
          <p:nvPicPr>
            <p:cNvPr id="443" name="Picture 442">
              <a:extLst>
                <a:ext uri="{FF2B5EF4-FFF2-40B4-BE49-F238E27FC236}">
                  <a16:creationId xmlns:a16="http://schemas.microsoft.com/office/drawing/2014/main" id="{2B990B6C-44C4-42FF-A292-37B8CE7F4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3"/>
            <a:stretch>
              <a:fillRect/>
            </a:stretch>
          </p:blipFill>
          <p:spPr>
            <a:xfrm>
              <a:off x="9124988" y="3015875"/>
              <a:ext cx="228600" cy="228600"/>
            </a:xfrm>
            <a:prstGeom prst="rect">
              <a:avLst/>
            </a:prstGeom>
          </p:spPr>
        </p:pic>
        <p:pic>
          <p:nvPicPr>
            <p:cNvPr id="446" name="Picture 445">
              <a:extLst>
                <a:ext uri="{FF2B5EF4-FFF2-40B4-BE49-F238E27FC236}">
                  <a16:creationId xmlns:a16="http://schemas.microsoft.com/office/drawing/2014/main" id="{04557208-819E-40F3-9025-7F02348CE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4"/>
            <a:stretch>
              <a:fillRect/>
            </a:stretch>
          </p:blipFill>
          <p:spPr>
            <a:xfrm>
              <a:off x="9561752" y="3015875"/>
              <a:ext cx="228600" cy="228600"/>
            </a:xfrm>
            <a:prstGeom prst="rect">
              <a:avLst/>
            </a:prstGeom>
          </p:spPr>
        </p:pic>
        <p:pic>
          <p:nvPicPr>
            <p:cNvPr id="449" name="Picture 448">
              <a:extLst>
                <a:ext uri="{FF2B5EF4-FFF2-40B4-BE49-F238E27FC236}">
                  <a16:creationId xmlns:a16="http://schemas.microsoft.com/office/drawing/2014/main" id="{A2069FC6-CA83-4192-A461-B7BD64132B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5"/>
            <a:stretch>
              <a:fillRect/>
            </a:stretch>
          </p:blipFill>
          <p:spPr>
            <a:xfrm>
              <a:off x="9984560" y="3015875"/>
              <a:ext cx="228601" cy="228600"/>
            </a:xfrm>
            <a:prstGeom prst="rect">
              <a:avLst/>
            </a:prstGeom>
          </p:spPr>
        </p:pic>
        <p:pic>
          <p:nvPicPr>
            <p:cNvPr id="452" name="Picture 451">
              <a:extLst>
                <a:ext uri="{FF2B5EF4-FFF2-40B4-BE49-F238E27FC236}">
                  <a16:creationId xmlns:a16="http://schemas.microsoft.com/office/drawing/2014/main" id="{EABCD554-CB6D-4D6C-AA17-E35D55AEB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/>
            <a:stretch>
              <a:fillRect/>
            </a:stretch>
          </p:blipFill>
          <p:spPr>
            <a:xfrm>
              <a:off x="10397286" y="3015875"/>
              <a:ext cx="228599" cy="228600"/>
            </a:xfrm>
            <a:prstGeom prst="rect">
              <a:avLst/>
            </a:prstGeom>
          </p:spPr>
        </p:pic>
        <p:pic>
          <p:nvPicPr>
            <p:cNvPr id="455" name="Picture 454">
              <a:extLst>
                <a:ext uri="{FF2B5EF4-FFF2-40B4-BE49-F238E27FC236}">
                  <a16:creationId xmlns:a16="http://schemas.microsoft.com/office/drawing/2014/main" id="{AB3FADFE-E33C-410E-9DAF-83F0746A6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/>
            <a:stretch>
              <a:fillRect/>
            </a:stretch>
          </p:blipFill>
          <p:spPr>
            <a:xfrm>
              <a:off x="10817498" y="3015875"/>
              <a:ext cx="228600" cy="228600"/>
            </a:xfrm>
            <a:prstGeom prst="rect">
              <a:avLst/>
            </a:prstGeom>
          </p:spPr>
        </p:pic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27193958-A5C1-4AC9-874A-E1DECF0A3E27}"/>
                </a:ext>
              </a:extLst>
            </p:cNvPr>
            <p:cNvSpPr txBox="1"/>
            <p:nvPr/>
          </p:nvSpPr>
          <p:spPr>
            <a:xfrm>
              <a:off x="1367340" y="3274736"/>
              <a:ext cx="518268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ext Analytics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7CEA4376-3648-476D-BE44-D58735E65A25}"/>
                </a:ext>
              </a:extLst>
            </p:cNvPr>
            <p:cNvSpPr txBox="1"/>
            <p:nvPr/>
          </p:nvSpPr>
          <p:spPr>
            <a:xfrm>
              <a:off x="1856770" y="3274736"/>
              <a:ext cx="518268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nslator Text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7DED4CDB-8966-41EE-A12A-192DA3E6A937}"/>
                </a:ext>
              </a:extLst>
            </p:cNvPr>
            <p:cNvSpPr txBox="1"/>
            <p:nvPr/>
          </p:nvSpPr>
          <p:spPr>
            <a:xfrm>
              <a:off x="2373292" y="3274736"/>
              <a:ext cx="518268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 Language Model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983B2827-5EA1-4612-A6FC-FF8484871A6D}"/>
                </a:ext>
              </a:extLst>
            </p:cNvPr>
            <p:cNvSpPr txBox="1"/>
            <p:nvPr/>
          </p:nvSpPr>
          <p:spPr>
            <a:xfrm>
              <a:off x="2903360" y="3274736"/>
              <a:ext cx="518268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ustom Decision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50263239-6888-47FF-AEEE-2CD7A4507C6C}"/>
                </a:ext>
              </a:extLst>
            </p:cNvPr>
            <p:cNvSpPr txBox="1"/>
            <p:nvPr/>
          </p:nvSpPr>
          <p:spPr>
            <a:xfrm>
              <a:off x="3426655" y="3274736"/>
              <a:ext cx="362665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QnA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Maker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8" name="TextBox 407">
              <a:extLst>
                <a:ext uri="{FF2B5EF4-FFF2-40B4-BE49-F238E27FC236}">
                  <a16:creationId xmlns:a16="http://schemas.microsoft.com/office/drawing/2014/main" id="{DBC978AC-80D9-4131-BC85-25F54A7793F3}"/>
                </a:ext>
              </a:extLst>
            </p:cNvPr>
            <p:cNvSpPr txBox="1"/>
            <p:nvPr/>
          </p:nvSpPr>
          <p:spPr>
            <a:xfrm>
              <a:off x="3814666" y="3274736"/>
              <a:ext cx="45738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commendations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ACCFAB6D-ECFB-4072-8DFE-41757957EF1A}"/>
                </a:ext>
              </a:extLst>
            </p:cNvPr>
            <p:cNvSpPr txBox="1"/>
            <p:nvPr/>
          </p:nvSpPr>
          <p:spPr>
            <a:xfrm>
              <a:off x="4283849" y="3274736"/>
              <a:ext cx="561867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nowledge Exploration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4233C8BE-6849-4981-AAB5-C2114FA4FA4A}"/>
                </a:ext>
              </a:extLst>
            </p:cNvPr>
            <p:cNvSpPr txBox="1"/>
            <p:nvPr/>
          </p:nvSpPr>
          <p:spPr>
            <a:xfrm>
              <a:off x="4843970" y="3274736"/>
              <a:ext cx="500981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ademic Knowledge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17" name="TextBox 416">
              <a:extLst>
                <a:ext uri="{FF2B5EF4-FFF2-40B4-BE49-F238E27FC236}">
                  <a16:creationId xmlns:a16="http://schemas.microsoft.com/office/drawing/2014/main" id="{472E5936-F04F-43E0-8D97-D47FA468C137}"/>
                </a:ext>
              </a:extLst>
            </p:cNvPr>
            <p:cNvSpPr txBox="1"/>
            <p:nvPr/>
          </p:nvSpPr>
          <p:spPr>
            <a:xfrm>
              <a:off x="5322886" y="3274736"/>
              <a:ext cx="530160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tity Linking Intelligent Service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B46ABD32-895D-4520-A39C-EBF7B69EC9A2}"/>
                </a:ext>
              </a:extLst>
            </p:cNvPr>
            <p:cNvSpPr txBox="1"/>
            <p:nvPr/>
          </p:nvSpPr>
          <p:spPr>
            <a:xfrm>
              <a:off x="5824208" y="3274736"/>
              <a:ext cx="47422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RL</a:t>
              </a:r>
            </a:p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eview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23" name="TextBox 422">
              <a:extLst>
                <a:ext uri="{FF2B5EF4-FFF2-40B4-BE49-F238E27FC236}">
                  <a16:creationId xmlns:a16="http://schemas.microsoft.com/office/drawing/2014/main" id="{B3BAC723-C9CC-4B1F-94D3-9ED4D82527BB}"/>
                </a:ext>
              </a:extLst>
            </p:cNvPr>
            <p:cNvSpPr txBox="1"/>
            <p:nvPr/>
          </p:nvSpPr>
          <p:spPr>
            <a:xfrm>
              <a:off x="6256050" y="3274736"/>
              <a:ext cx="47422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swer Sear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26" name="TextBox 425">
              <a:extLst>
                <a:ext uri="{FF2B5EF4-FFF2-40B4-BE49-F238E27FC236}">
                  <a16:creationId xmlns:a16="http://schemas.microsoft.com/office/drawing/2014/main" id="{AC452C47-E237-4C81-8F83-804E5CB74C3F}"/>
                </a:ext>
              </a:extLst>
            </p:cNvPr>
            <p:cNvSpPr txBox="1"/>
            <p:nvPr/>
          </p:nvSpPr>
          <p:spPr>
            <a:xfrm>
              <a:off x="6681119" y="3274736"/>
              <a:ext cx="474226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nomaly Find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E7DD7650-DF07-41B7-910A-0CCFCA9F4FE1}"/>
                </a:ext>
              </a:extLst>
            </p:cNvPr>
            <p:cNvSpPr txBox="1"/>
            <p:nvPr/>
          </p:nvSpPr>
          <p:spPr>
            <a:xfrm>
              <a:off x="7146826" y="3274736"/>
              <a:ext cx="371999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versation Learn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8EF728B7-D244-41D0-9EBA-31455CA0570D}"/>
                </a:ext>
              </a:extLst>
            </p:cNvPr>
            <p:cNvSpPr txBox="1"/>
            <p:nvPr/>
          </p:nvSpPr>
          <p:spPr>
            <a:xfrm>
              <a:off x="7550944" y="3274736"/>
              <a:ext cx="336526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News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35" name="TextBox 434">
              <a:extLst>
                <a:ext uri="{FF2B5EF4-FFF2-40B4-BE49-F238E27FC236}">
                  <a16:creationId xmlns:a16="http://schemas.microsoft.com/office/drawing/2014/main" id="{FE665C1D-2E9A-439A-8F4C-88B607FBB23C}"/>
                </a:ext>
              </a:extLst>
            </p:cNvPr>
            <p:cNvSpPr txBox="1"/>
            <p:nvPr/>
          </p:nvSpPr>
          <p:spPr>
            <a:xfrm>
              <a:off x="7912816" y="3274736"/>
              <a:ext cx="353819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Video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38" name="TextBox 437">
              <a:extLst>
                <a:ext uri="{FF2B5EF4-FFF2-40B4-BE49-F238E27FC236}">
                  <a16:creationId xmlns:a16="http://schemas.microsoft.com/office/drawing/2014/main" id="{C4DFEA5D-C88B-4B61-9BA9-D926C337B00A}"/>
                </a:ext>
              </a:extLst>
            </p:cNvPr>
            <p:cNvSpPr txBox="1"/>
            <p:nvPr/>
          </p:nvSpPr>
          <p:spPr>
            <a:xfrm>
              <a:off x="8278435" y="3274736"/>
              <a:ext cx="343164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Web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D7BB67FF-A4BB-474E-A47F-A81A806AB3D2}"/>
                </a:ext>
              </a:extLst>
            </p:cNvPr>
            <p:cNvSpPr txBox="1"/>
            <p:nvPr/>
          </p:nvSpPr>
          <p:spPr>
            <a:xfrm>
              <a:off x="8619853" y="3274736"/>
              <a:ext cx="399989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Visual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44" name="TextBox 443">
              <a:extLst>
                <a:ext uri="{FF2B5EF4-FFF2-40B4-BE49-F238E27FC236}">
                  <a16:creationId xmlns:a16="http://schemas.microsoft.com/office/drawing/2014/main" id="{68A452D9-8881-46B8-83A2-022F7D053CA4}"/>
                </a:ext>
              </a:extLst>
            </p:cNvPr>
            <p:cNvSpPr txBox="1"/>
            <p:nvPr/>
          </p:nvSpPr>
          <p:spPr>
            <a:xfrm>
              <a:off x="9031642" y="3274736"/>
              <a:ext cx="415292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Autosuggest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47" name="TextBox 446">
              <a:extLst>
                <a:ext uri="{FF2B5EF4-FFF2-40B4-BE49-F238E27FC236}">
                  <a16:creationId xmlns:a16="http://schemas.microsoft.com/office/drawing/2014/main" id="{8E2953D8-80FD-4030-B060-7281DDBB39C9}"/>
                </a:ext>
              </a:extLst>
            </p:cNvPr>
            <p:cNvSpPr txBox="1"/>
            <p:nvPr/>
          </p:nvSpPr>
          <p:spPr>
            <a:xfrm>
              <a:off x="9479053" y="3274736"/>
              <a:ext cx="393999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Custom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7A719883-11EF-434F-AC93-523D63B50B1D}"/>
                </a:ext>
              </a:extLst>
            </p:cNvPr>
            <p:cNvSpPr txBox="1"/>
            <p:nvPr/>
          </p:nvSpPr>
          <p:spPr>
            <a:xfrm>
              <a:off x="9911944" y="3274736"/>
              <a:ext cx="373833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Entity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53" name="TextBox 452">
              <a:extLst>
                <a:ext uri="{FF2B5EF4-FFF2-40B4-BE49-F238E27FC236}">
                  <a16:creationId xmlns:a16="http://schemas.microsoft.com/office/drawing/2014/main" id="{3AC54A8C-CF0D-4AA4-997A-CE01B38FED94}"/>
                </a:ext>
              </a:extLst>
            </p:cNvPr>
            <p:cNvSpPr txBox="1"/>
            <p:nvPr/>
          </p:nvSpPr>
          <p:spPr>
            <a:xfrm>
              <a:off x="10324669" y="3274736"/>
              <a:ext cx="373833" cy="4125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Image Sear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56" name="TextBox 455">
              <a:extLst>
                <a:ext uri="{FF2B5EF4-FFF2-40B4-BE49-F238E27FC236}">
                  <a16:creationId xmlns:a16="http://schemas.microsoft.com/office/drawing/2014/main" id="{9240E6C7-25C3-4106-951B-C30B3F2229C6}"/>
                </a:ext>
              </a:extLst>
            </p:cNvPr>
            <p:cNvSpPr txBox="1"/>
            <p:nvPr/>
          </p:nvSpPr>
          <p:spPr>
            <a:xfrm>
              <a:off x="10737408" y="3274736"/>
              <a:ext cx="388780" cy="218629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pen Dataset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B999CE0D-8FE3-4764-A2B2-E432DD9B2CFD}"/>
                </a:ext>
              </a:extLst>
            </p:cNvPr>
            <p:cNvSpPr/>
            <p:nvPr/>
          </p:nvSpPr>
          <p:spPr bwMode="auto">
            <a:xfrm>
              <a:off x="304975" y="2270887"/>
              <a:ext cx="1093616" cy="1463040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AI + Machine Learning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3A4B1F50-3FC5-4A5F-9BA8-3B5166CFBC7E}"/>
                </a:ext>
              </a:extLst>
            </p:cNvPr>
            <p:cNvSpPr txBox="1"/>
            <p:nvPr/>
          </p:nvSpPr>
          <p:spPr>
            <a:xfrm>
              <a:off x="2839358" y="2606237"/>
              <a:ext cx="457200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Learning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14599D40-7A6B-4484-AE47-F047463D903E}"/>
                </a:ext>
              </a:extLst>
            </p:cNvPr>
            <p:cNvSpPr txBox="1"/>
            <p:nvPr/>
          </p:nvSpPr>
          <p:spPr>
            <a:xfrm>
              <a:off x="1885434" y="2606237"/>
              <a:ext cx="45720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Bot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2A241331-0BC8-44D1-A5C1-1F533DA01817}"/>
                </a:ext>
              </a:extLst>
            </p:cNvPr>
            <p:cNvSpPr txBox="1"/>
            <p:nvPr/>
          </p:nvSpPr>
          <p:spPr>
            <a:xfrm>
              <a:off x="3793282" y="2606237"/>
              <a:ext cx="45720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gnitive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A8429783-6DAE-43DA-B7BA-8E8D8BC59898}"/>
                </a:ext>
              </a:extLst>
            </p:cNvPr>
            <p:cNvSpPr txBox="1"/>
            <p:nvPr/>
          </p:nvSpPr>
          <p:spPr>
            <a:xfrm>
              <a:off x="1408472" y="2606237"/>
              <a:ext cx="45720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</a:b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brick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38" name="TextBox 337">
              <a:extLst>
                <a:ext uri="{FF2B5EF4-FFF2-40B4-BE49-F238E27FC236}">
                  <a16:creationId xmlns:a16="http://schemas.microsoft.com/office/drawing/2014/main" id="{AADE8D95-EBAD-4414-B3C0-875CEB463DDE}"/>
                </a:ext>
              </a:extLst>
            </p:cNvPr>
            <p:cNvSpPr txBox="1"/>
            <p:nvPr/>
          </p:nvSpPr>
          <p:spPr>
            <a:xfrm>
              <a:off x="3316320" y="2606237"/>
              <a:ext cx="457200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chine Learning Studio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4860F75C-F587-4755-8BAA-29A56D3A0CEF}"/>
                </a:ext>
              </a:extLst>
            </p:cNvPr>
            <p:cNvSpPr txBox="1"/>
            <p:nvPr/>
          </p:nvSpPr>
          <p:spPr>
            <a:xfrm>
              <a:off x="2362396" y="2606237"/>
              <a:ext cx="45720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crosoft Genom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6A31EAAD-98E7-47FD-BE45-F8595F52FB7D}"/>
                </a:ext>
              </a:extLst>
            </p:cNvPr>
            <p:cNvSpPr txBox="1"/>
            <p:nvPr/>
          </p:nvSpPr>
          <p:spPr>
            <a:xfrm>
              <a:off x="4270244" y="2606237"/>
              <a:ext cx="5029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Notebook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47" name="TextBox 346">
              <a:extLst>
                <a:ext uri="{FF2B5EF4-FFF2-40B4-BE49-F238E27FC236}">
                  <a16:creationId xmlns:a16="http://schemas.microsoft.com/office/drawing/2014/main" id="{A4EF9F8D-77C5-4766-85BF-E5B370008847}"/>
                </a:ext>
              </a:extLst>
            </p:cNvPr>
            <p:cNvSpPr txBox="1"/>
            <p:nvPr/>
          </p:nvSpPr>
          <p:spPr>
            <a:xfrm>
              <a:off x="4792926" y="2606237"/>
              <a:ext cx="45720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ear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54FEDB6A-772D-47C6-BB15-068790EA0860}"/>
                </a:ext>
              </a:extLst>
            </p:cNvPr>
            <p:cNvSpPr txBox="1"/>
            <p:nvPr/>
          </p:nvSpPr>
          <p:spPr>
            <a:xfrm>
              <a:off x="5269888" y="2606237"/>
              <a:ext cx="46397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mputer Vision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54" name="TextBox 353">
              <a:extLst>
                <a:ext uri="{FF2B5EF4-FFF2-40B4-BE49-F238E27FC236}">
                  <a16:creationId xmlns:a16="http://schemas.microsoft.com/office/drawing/2014/main" id="{D2692CE6-BC3A-42E6-BEEA-DDEFDBC8B221}"/>
                </a:ext>
              </a:extLst>
            </p:cNvPr>
            <p:cNvSpPr txBox="1"/>
            <p:nvPr/>
          </p:nvSpPr>
          <p:spPr>
            <a:xfrm>
              <a:off x="5753625" y="2606237"/>
              <a:ext cx="464247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ent Moderato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57" name="TextBox 356">
              <a:extLst>
                <a:ext uri="{FF2B5EF4-FFF2-40B4-BE49-F238E27FC236}">
                  <a16:creationId xmlns:a16="http://schemas.microsoft.com/office/drawing/2014/main" id="{42EAA857-1442-49EC-B749-BF3BA6D51377}"/>
                </a:ext>
              </a:extLst>
            </p:cNvPr>
            <p:cNvSpPr txBox="1"/>
            <p:nvPr/>
          </p:nvSpPr>
          <p:spPr>
            <a:xfrm>
              <a:off x="6237634" y="2606237"/>
              <a:ext cx="407533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ustom Vision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60" name="TextBox 359">
              <a:extLst>
                <a:ext uri="{FF2B5EF4-FFF2-40B4-BE49-F238E27FC236}">
                  <a16:creationId xmlns:a16="http://schemas.microsoft.com/office/drawing/2014/main" id="{D71C6353-C422-4C3D-B774-6301C1E2BFC4}"/>
                </a:ext>
              </a:extLst>
            </p:cNvPr>
            <p:cNvSpPr txBox="1"/>
            <p:nvPr/>
          </p:nvSpPr>
          <p:spPr>
            <a:xfrm>
              <a:off x="6664929" y="2606237"/>
              <a:ext cx="4075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motion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6C79C7D0-A2A7-46FC-8E37-D94223180754}"/>
                </a:ext>
              </a:extLst>
            </p:cNvPr>
            <p:cNvSpPr txBox="1"/>
            <p:nvPr/>
          </p:nvSpPr>
          <p:spPr>
            <a:xfrm>
              <a:off x="7092224" y="2606237"/>
              <a:ext cx="4075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ce</a:t>
              </a:r>
            </a:p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" action="ppaction://noaction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42F40316-1410-4CA2-BB62-1EB56983DD16}"/>
                </a:ext>
              </a:extLst>
            </p:cNvPr>
            <p:cNvSpPr txBox="1"/>
            <p:nvPr/>
          </p:nvSpPr>
          <p:spPr>
            <a:xfrm>
              <a:off x="7519519" y="2606237"/>
              <a:ext cx="4075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deo Index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:a16="http://schemas.microsoft.com/office/drawing/2014/main" id="{04A2F704-3412-46BE-BFAF-F26A59F1ED55}"/>
                </a:ext>
              </a:extLst>
            </p:cNvPr>
            <p:cNvSpPr txBox="1"/>
            <p:nvPr/>
          </p:nvSpPr>
          <p:spPr>
            <a:xfrm>
              <a:off x="7946814" y="2606237"/>
              <a:ext cx="4075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peech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6316D22F-7BA1-4753-8E41-15E273558F99}"/>
                </a:ext>
              </a:extLst>
            </p:cNvPr>
            <p:cNvSpPr txBox="1"/>
            <p:nvPr/>
          </p:nvSpPr>
          <p:spPr>
            <a:xfrm>
              <a:off x="8374109" y="2606237"/>
              <a:ext cx="4075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pee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75" name="TextBox 374">
              <a:extLst>
                <a:ext uri="{FF2B5EF4-FFF2-40B4-BE49-F238E27FC236}">
                  <a16:creationId xmlns:a16="http://schemas.microsoft.com/office/drawing/2014/main" id="{93DB3F06-4D40-48AE-BDF4-4ED0814C3FF6}"/>
                </a:ext>
              </a:extLst>
            </p:cNvPr>
            <p:cNvSpPr txBox="1"/>
            <p:nvPr/>
          </p:nvSpPr>
          <p:spPr>
            <a:xfrm>
              <a:off x="8801404" y="2606237"/>
              <a:ext cx="407533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ustom Speech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78" name="TextBox 377">
              <a:extLst>
                <a:ext uri="{FF2B5EF4-FFF2-40B4-BE49-F238E27FC236}">
                  <a16:creationId xmlns:a16="http://schemas.microsoft.com/office/drawing/2014/main" id="{A7A1FC00-79E2-4279-8290-E03F51926F23}"/>
                </a:ext>
              </a:extLst>
            </p:cNvPr>
            <p:cNvSpPr txBox="1"/>
            <p:nvPr/>
          </p:nvSpPr>
          <p:spPr>
            <a:xfrm>
              <a:off x="9228699" y="2606237"/>
              <a:ext cx="518563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peaker Recognition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81" name="TextBox 380">
              <a:extLst>
                <a:ext uri="{FF2B5EF4-FFF2-40B4-BE49-F238E27FC236}">
                  <a16:creationId xmlns:a16="http://schemas.microsoft.com/office/drawing/2014/main" id="{C0DA4528-CB14-4B3F-A094-EB9645CDAF21}"/>
                </a:ext>
              </a:extLst>
            </p:cNvPr>
            <p:cNvSpPr txBox="1"/>
            <p:nvPr/>
          </p:nvSpPr>
          <p:spPr>
            <a:xfrm>
              <a:off x="9767024" y="2606237"/>
              <a:ext cx="451439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ranslator Speech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55D4EA54-C95F-4164-A344-3A408E87677E}"/>
                </a:ext>
              </a:extLst>
            </p:cNvPr>
            <p:cNvSpPr txBox="1"/>
            <p:nvPr/>
          </p:nvSpPr>
          <p:spPr>
            <a:xfrm>
              <a:off x="10238225" y="2606237"/>
              <a:ext cx="481233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ng Spell Check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87" name="TextBox 386">
              <a:extLst>
                <a:ext uri="{FF2B5EF4-FFF2-40B4-BE49-F238E27FC236}">
                  <a16:creationId xmlns:a16="http://schemas.microsoft.com/office/drawing/2014/main" id="{412F7E98-B5A7-4503-A6CE-CE183730665B}"/>
                </a:ext>
              </a:extLst>
            </p:cNvPr>
            <p:cNvSpPr txBox="1"/>
            <p:nvPr/>
          </p:nvSpPr>
          <p:spPr>
            <a:xfrm>
              <a:off x="10739220" y="2606237"/>
              <a:ext cx="630739" cy="32004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anguage Understanding (LUIS)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90" name="TextBox 389">
              <a:extLst>
                <a:ext uri="{FF2B5EF4-FFF2-40B4-BE49-F238E27FC236}">
                  <a16:creationId xmlns:a16="http://schemas.microsoft.com/office/drawing/2014/main" id="{D23BB92A-5E14-41F3-A7AE-7EF33FD9D602}"/>
                </a:ext>
              </a:extLst>
            </p:cNvPr>
            <p:cNvSpPr txBox="1"/>
            <p:nvPr/>
          </p:nvSpPr>
          <p:spPr>
            <a:xfrm>
              <a:off x="11389728" y="2606237"/>
              <a:ext cx="508585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4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guistic Analysis API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322" name="Straight Connector 321">
              <a:extLst>
                <a:ext uri="{FF2B5EF4-FFF2-40B4-BE49-F238E27FC236}">
                  <a16:creationId xmlns:a16="http://schemas.microsoft.com/office/drawing/2014/main" id="{075D429E-1EB0-4D7A-B167-4CB19C50C676}"/>
                </a:ext>
              </a:extLst>
            </p:cNvPr>
            <p:cNvCxnSpPr>
              <a:cxnSpLocks/>
            </p:cNvCxnSpPr>
            <p:nvPr/>
          </p:nvCxnSpPr>
          <p:spPr>
            <a:xfrm>
              <a:off x="187555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E130291A-8F76-4DEA-A0A9-422E76C5EDB9}"/>
                </a:ext>
              </a:extLst>
            </p:cNvPr>
            <p:cNvCxnSpPr>
              <a:cxnSpLocks/>
            </p:cNvCxnSpPr>
            <p:nvPr/>
          </p:nvCxnSpPr>
          <p:spPr>
            <a:xfrm>
              <a:off x="2352515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3DB79D70-6661-4244-86E1-B4B345420D3D}"/>
                </a:ext>
              </a:extLst>
            </p:cNvPr>
            <p:cNvCxnSpPr>
              <a:cxnSpLocks/>
            </p:cNvCxnSpPr>
            <p:nvPr/>
          </p:nvCxnSpPr>
          <p:spPr>
            <a:xfrm>
              <a:off x="2829477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B6D3A278-6A66-47AC-BC76-1B9C8B1C3843}"/>
                </a:ext>
              </a:extLst>
            </p:cNvPr>
            <p:cNvCxnSpPr>
              <a:cxnSpLocks/>
            </p:cNvCxnSpPr>
            <p:nvPr/>
          </p:nvCxnSpPr>
          <p:spPr>
            <a:xfrm>
              <a:off x="3306439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Straight Connector 457">
              <a:extLst>
                <a:ext uri="{FF2B5EF4-FFF2-40B4-BE49-F238E27FC236}">
                  <a16:creationId xmlns:a16="http://schemas.microsoft.com/office/drawing/2014/main" id="{F0C49D6F-5467-4F37-A3E9-5A38987A3DBA}"/>
                </a:ext>
              </a:extLst>
            </p:cNvPr>
            <p:cNvCxnSpPr>
              <a:cxnSpLocks/>
            </p:cNvCxnSpPr>
            <p:nvPr/>
          </p:nvCxnSpPr>
          <p:spPr>
            <a:xfrm>
              <a:off x="3783401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Straight Connector 458">
              <a:extLst>
                <a:ext uri="{FF2B5EF4-FFF2-40B4-BE49-F238E27FC236}">
                  <a16:creationId xmlns:a16="http://schemas.microsoft.com/office/drawing/2014/main" id="{CD1377CF-18C2-479B-A868-E9B33AF82782}"/>
                </a:ext>
              </a:extLst>
            </p:cNvPr>
            <p:cNvCxnSpPr>
              <a:cxnSpLocks/>
            </p:cNvCxnSpPr>
            <p:nvPr/>
          </p:nvCxnSpPr>
          <p:spPr>
            <a:xfrm>
              <a:off x="426036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Straight Connector 459">
              <a:extLst>
                <a:ext uri="{FF2B5EF4-FFF2-40B4-BE49-F238E27FC236}">
                  <a16:creationId xmlns:a16="http://schemas.microsoft.com/office/drawing/2014/main" id="{39CF5396-839D-49DE-8CFB-5B0A86D5C43F}"/>
                </a:ext>
              </a:extLst>
            </p:cNvPr>
            <p:cNvCxnSpPr>
              <a:cxnSpLocks/>
            </p:cNvCxnSpPr>
            <p:nvPr/>
          </p:nvCxnSpPr>
          <p:spPr>
            <a:xfrm>
              <a:off x="4783045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1" name="Straight Connector 460">
              <a:extLst>
                <a:ext uri="{FF2B5EF4-FFF2-40B4-BE49-F238E27FC236}">
                  <a16:creationId xmlns:a16="http://schemas.microsoft.com/office/drawing/2014/main" id="{70F1FA17-688F-4796-AC0C-A2B9FDFBBA53}"/>
                </a:ext>
              </a:extLst>
            </p:cNvPr>
            <p:cNvCxnSpPr>
              <a:cxnSpLocks/>
            </p:cNvCxnSpPr>
            <p:nvPr/>
          </p:nvCxnSpPr>
          <p:spPr>
            <a:xfrm>
              <a:off x="5260007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2" name="Straight Connector 461">
              <a:extLst>
                <a:ext uri="{FF2B5EF4-FFF2-40B4-BE49-F238E27FC236}">
                  <a16:creationId xmlns:a16="http://schemas.microsoft.com/office/drawing/2014/main" id="{64193C10-D339-4B1E-A566-DB83FD6D84C0}"/>
                </a:ext>
              </a:extLst>
            </p:cNvPr>
            <p:cNvCxnSpPr>
              <a:cxnSpLocks/>
            </p:cNvCxnSpPr>
            <p:nvPr/>
          </p:nvCxnSpPr>
          <p:spPr>
            <a:xfrm>
              <a:off x="5743744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3" name="Straight Connector 462">
              <a:extLst>
                <a:ext uri="{FF2B5EF4-FFF2-40B4-BE49-F238E27FC236}">
                  <a16:creationId xmlns:a16="http://schemas.microsoft.com/office/drawing/2014/main" id="{7FB4B402-51B5-448A-B43C-0BC528B6EA62}"/>
                </a:ext>
              </a:extLst>
            </p:cNvPr>
            <p:cNvCxnSpPr>
              <a:cxnSpLocks/>
            </p:cNvCxnSpPr>
            <p:nvPr/>
          </p:nvCxnSpPr>
          <p:spPr>
            <a:xfrm>
              <a:off x="622775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4" name="Straight Connector 463">
              <a:extLst>
                <a:ext uri="{FF2B5EF4-FFF2-40B4-BE49-F238E27FC236}">
                  <a16:creationId xmlns:a16="http://schemas.microsoft.com/office/drawing/2014/main" id="{B4BF9EFB-1159-4089-AE4B-6C30805786B0}"/>
                </a:ext>
              </a:extLst>
            </p:cNvPr>
            <p:cNvCxnSpPr>
              <a:cxnSpLocks/>
            </p:cNvCxnSpPr>
            <p:nvPr/>
          </p:nvCxnSpPr>
          <p:spPr>
            <a:xfrm>
              <a:off x="6655048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5" name="Straight Connector 464">
              <a:extLst>
                <a:ext uri="{FF2B5EF4-FFF2-40B4-BE49-F238E27FC236}">
                  <a16:creationId xmlns:a16="http://schemas.microsoft.com/office/drawing/2014/main" id="{33D65475-2597-45AE-B37E-16415ACEF80D}"/>
                </a:ext>
              </a:extLst>
            </p:cNvPr>
            <p:cNvCxnSpPr>
              <a:cxnSpLocks/>
            </p:cNvCxnSpPr>
            <p:nvPr/>
          </p:nvCxnSpPr>
          <p:spPr>
            <a:xfrm>
              <a:off x="708234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6" name="Straight Connector 465">
              <a:extLst>
                <a:ext uri="{FF2B5EF4-FFF2-40B4-BE49-F238E27FC236}">
                  <a16:creationId xmlns:a16="http://schemas.microsoft.com/office/drawing/2014/main" id="{A720F9E1-E710-4C64-A560-2F55C885F1F9}"/>
                </a:ext>
              </a:extLst>
            </p:cNvPr>
            <p:cNvCxnSpPr>
              <a:cxnSpLocks/>
            </p:cNvCxnSpPr>
            <p:nvPr/>
          </p:nvCxnSpPr>
          <p:spPr>
            <a:xfrm>
              <a:off x="7509638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7" name="Straight Connector 466">
              <a:extLst>
                <a:ext uri="{FF2B5EF4-FFF2-40B4-BE49-F238E27FC236}">
                  <a16:creationId xmlns:a16="http://schemas.microsoft.com/office/drawing/2014/main" id="{00DADE0B-EB28-456B-87E8-3BA6F7FC4C87}"/>
                </a:ext>
              </a:extLst>
            </p:cNvPr>
            <p:cNvCxnSpPr>
              <a:cxnSpLocks/>
            </p:cNvCxnSpPr>
            <p:nvPr/>
          </p:nvCxnSpPr>
          <p:spPr>
            <a:xfrm>
              <a:off x="793693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8" name="Straight Connector 467">
              <a:extLst>
                <a:ext uri="{FF2B5EF4-FFF2-40B4-BE49-F238E27FC236}">
                  <a16:creationId xmlns:a16="http://schemas.microsoft.com/office/drawing/2014/main" id="{4FC5B9C3-5AF2-4D20-AF20-C1DB3F61FB04}"/>
                </a:ext>
              </a:extLst>
            </p:cNvPr>
            <p:cNvCxnSpPr>
              <a:cxnSpLocks/>
            </p:cNvCxnSpPr>
            <p:nvPr/>
          </p:nvCxnSpPr>
          <p:spPr>
            <a:xfrm>
              <a:off x="8364228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9" name="Straight Connector 468">
              <a:extLst>
                <a:ext uri="{FF2B5EF4-FFF2-40B4-BE49-F238E27FC236}">
                  <a16:creationId xmlns:a16="http://schemas.microsoft.com/office/drawing/2014/main" id="{8D1F2C48-4942-46E0-8F47-0B8467554CFC}"/>
                </a:ext>
              </a:extLst>
            </p:cNvPr>
            <p:cNvCxnSpPr>
              <a:cxnSpLocks/>
            </p:cNvCxnSpPr>
            <p:nvPr/>
          </p:nvCxnSpPr>
          <p:spPr>
            <a:xfrm>
              <a:off x="879152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0" name="Straight Connector 469">
              <a:extLst>
                <a:ext uri="{FF2B5EF4-FFF2-40B4-BE49-F238E27FC236}">
                  <a16:creationId xmlns:a16="http://schemas.microsoft.com/office/drawing/2014/main" id="{0396BA2E-4CB0-41E3-B55B-7B8B10C5A90A}"/>
                </a:ext>
              </a:extLst>
            </p:cNvPr>
            <p:cNvCxnSpPr>
              <a:cxnSpLocks/>
            </p:cNvCxnSpPr>
            <p:nvPr/>
          </p:nvCxnSpPr>
          <p:spPr>
            <a:xfrm>
              <a:off x="9218818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1" name="Straight Connector 470">
              <a:extLst>
                <a:ext uri="{FF2B5EF4-FFF2-40B4-BE49-F238E27FC236}">
                  <a16:creationId xmlns:a16="http://schemas.microsoft.com/office/drawing/2014/main" id="{2A6E8044-8728-456B-840C-34DFEE5298C6}"/>
                </a:ext>
              </a:extLst>
            </p:cNvPr>
            <p:cNvCxnSpPr>
              <a:cxnSpLocks/>
            </p:cNvCxnSpPr>
            <p:nvPr/>
          </p:nvCxnSpPr>
          <p:spPr>
            <a:xfrm>
              <a:off x="9757143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2" name="Straight Connector 471">
              <a:extLst>
                <a:ext uri="{FF2B5EF4-FFF2-40B4-BE49-F238E27FC236}">
                  <a16:creationId xmlns:a16="http://schemas.microsoft.com/office/drawing/2014/main" id="{E22C852F-DA01-4EA0-9D4F-D3D0134C6EDB}"/>
                </a:ext>
              </a:extLst>
            </p:cNvPr>
            <p:cNvCxnSpPr>
              <a:cxnSpLocks/>
            </p:cNvCxnSpPr>
            <p:nvPr/>
          </p:nvCxnSpPr>
          <p:spPr>
            <a:xfrm>
              <a:off x="10228344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>
              <a:extLst>
                <a:ext uri="{FF2B5EF4-FFF2-40B4-BE49-F238E27FC236}">
                  <a16:creationId xmlns:a16="http://schemas.microsoft.com/office/drawing/2014/main" id="{A34CF517-512B-4B3A-8B44-46F34F83AF84}"/>
                </a:ext>
              </a:extLst>
            </p:cNvPr>
            <p:cNvCxnSpPr>
              <a:cxnSpLocks/>
            </p:cNvCxnSpPr>
            <p:nvPr/>
          </p:nvCxnSpPr>
          <p:spPr>
            <a:xfrm>
              <a:off x="10729339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5" name="Straight Connector 474">
              <a:extLst>
                <a:ext uri="{FF2B5EF4-FFF2-40B4-BE49-F238E27FC236}">
                  <a16:creationId xmlns:a16="http://schemas.microsoft.com/office/drawing/2014/main" id="{953C31B6-03A9-4863-B95E-DE695F471929}"/>
                </a:ext>
              </a:extLst>
            </p:cNvPr>
            <p:cNvCxnSpPr>
              <a:cxnSpLocks/>
            </p:cNvCxnSpPr>
            <p:nvPr/>
          </p:nvCxnSpPr>
          <p:spPr>
            <a:xfrm>
              <a:off x="11379840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7" name="Picture 476" descr="Bot Services">
              <a:extLst>
                <a:ext uri="{FF2B5EF4-FFF2-40B4-BE49-F238E27FC236}">
                  <a16:creationId xmlns:a16="http://schemas.microsoft.com/office/drawing/2014/main" id="{D776FF0A-F653-4809-B145-03DFE8933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7"/>
            <a:stretch>
              <a:fillRect/>
            </a:stretch>
          </p:blipFill>
          <p:spPr>
            <a:xfrm>
              <a:off x="1994997" y="2334656"/>
              <a:ext cx="238074" cy="233735"/>
            </a:xfrm>
            <a:prstGeom prst="rect">
              <a:avLst/>
            </a:prstGeom>
          </p:spPr>
        </p:pic>
        <p:pic>
          <p:nvPicPr>
            <p:cNvPr id="478" name="Graphic 477" descr="Machine Learning Studio">
              <a:extLst>
                <a:ext uri="{FF2B5EF4-FFF2-40B4-BE49-F238E27FC236}">
                  <a16:creationId xmlns:a16="http://schemas.microsoft.com/office/drawing/2014/main" id="{14515BE8-62C8-4C5F-AE40-412F225EE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9"/>
                </a:ext>
              </a:extLst>
            </a:blip>
            <a:stretch>
              <a:fillRect/>
            </a:stretch>
          </p:blipFill>
          <p:spPr>
            <a:xfrm>
              <a:off x="2953398" y="2335060"/>
              <a:ext cx="229121" cy="229121"/>
            </a:xfrm>
            <a:prstGeom prst="rect">
              <a:avLst/>
            </a:prstGeom>
          </p:spPr>
        </p:pic>
        <p:pic>
          <p:nvPicPr>
            <p:cNvPr id="479" name="Graphic 478" descr="Machine Learning Studio">
              <a:extLst>
                <a:ext uri="{FF2B5EF4-FFF2-40B4-BE49-F238E27FC236}">
                  <a16:creationId xmlns:a16="http://schemas.microsoft.com/office/drawing/2014/main" id="{728FC9DD-DF06-43C4-B846-F70073B98E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9"/>
                </a:ext>
              </a:extLst>
            </a:blip>
            <a:stretch>
              <a:fillRect/>
            </a:stretch>
          </p:blipFill>
          <p:spPr>
            <a:xfrm>
              <a:off x="3430360" y="2335060"/>
              <a:ext cx="229121" cy="229121"/>
            </a:xfrm>
            <a:prstGeom prst="rect">
              <a:avLst/>
            </a:prstGeom>
          </p:spPr>
        </p:pic>
        <p:pic>
          <p:nvPicPr>
            <p:cNvPr id="480" name="Graphic 479">
              <a:extLst>
                <a:ext uri="{FF2B5EF4-FFF2-40B4-BE49-F238E27FC236}">
                  <a16:creationId xmlns:a16="http://schemas.microsoft.com/office/drawing/2014/main" id="{96617FCE-BBD2-4C2E-BD03-55325E535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0">
              <a:extLst>
                <a:ext uri="{96DAC541-7B7A-43D3-8B79-37D633B846F1}">
                  <asvg:svgBlip xmlns:asvg="http://schemas.microsoft.com/office/drawing/2016/SVG/main" r:embed="rId151"/>
                </a:ext>
              </a:extLst>
            </a:blip>
            <a:stretch>
              <a:fillRect/>
            </a:stretch>
          </p:blipFill>
          <p:spPr>
            <a:xfrm>
              <a:off x="3903341" y="2356315"/>
              <a:ext cx="237082" cy="237082"/>
            </a:xfrm>
            <a:prstGeom prst="rect">
              <a:avLst/>
            </a:prstGeom>
          </p:spPr>
        </p:pic>
        <p:cxnSp>
          <p:nvCxnSpPr>
            <p:cNvPr id="482" name="Straight Connector 481">
              <a:extLst>
                <a:ext uri="{FF2B5EF4-FFF2-40B4-BE49-F238E27FC236}">
                  <a16:creationId xmlns:a16="http://schemas.microsoft.com/office/drawing/2014/main" id="{B369193D-F6EF-4862-9D18-996CA2292A32}"/>
                </a:ext>
              </a:extLst>
            </p:cNvPr>
            <p:cNvCxnSpPr>
              <a:cxnSpLocks/>
            </p:cNvCxnSpPr>
            <p:nvPr/>
          </p:nvCxnSpPr>
          <p:spPr>
            <a:xfrm>
              <a:off x="1837324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0C80DA68-CA6D-4A6B-B31C-3C141D7518C2}"/>
                </a:ext>
              </a:extLst>
            </p:cNvPr>
            <p:cNvCxnSpPr>
              <a:cxnSpLocks/>
            </p:cNvCxnSpPr>
            <p:nvPr/>
          </p:nvCxnSpPr>
          <p:spPr>
            <a:xfrm>
              <a:off x="2367392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05B9117A-FEEC-4125-9218-7B80291CFFBB}"/>
                </a:ext>
              </a:extLst>
            </p:cNvPr>
            <p:cNvCxnSpPr>
              <a:cxnSpLocks/>
            </p:cNvCxnSpPr>
            <p:nvPr/>
          </p:nvCxnSpPr>
          <p:spPr>
            <a:xfrm>
              <a:off x="2911006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9B64CDEC-1F5F-4B01-929B-5F20EF7B2A79}"/>
                </a:ext>
              </a:extLst>
            </p:cNvPr>
            <p:cNvCxnSpPr>
              <a:cxnSpLocks/>
            </p:cNvCxnSpPr>
            <p:nvPr/>
          </p:nvCxnSpPr>
          <p:spPr>
            <a:xfrm>
              <a:off x="3407209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7" name="Straight Connector 486">
              <a:extLst>
                <a:ext uri="{FF2B5EF4-FFF2-40B4-BE49-F238E27FC236}">
                  <a16:creationId xmlns:a16="http://schemas.microsoft.com/office/drawing/2014/main" id="{2011CF26-03A5-460D-A7D3-14B4B6017A89}"/>
                </a:ext>
              </a:extLst>
            </p:cNvPr>
            <p:cNvCxnSpPr>
              <a:cxnSpLocks/>
            </p:cNvCxnSpPr>
            <p:nvPr/>
          </p:nvCxnSpPr>
          <p:spPr>
            <a:xfrm>
              <a:off x="3795220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97C82ED8-8377-47F8-B3F5-ECAB695BA415}"/>
                </a:ext>
              </a:extLst>
            </p:cNvPr>
            <p:cNvCxnSpPr>
              <a:cxnSpLocks/>
            </p:cNvCxnSpPr>
            <p:nvPr/>
          </p:nvCxnSpPr>
          <p:spPr>
            <a:xfrm>
              <a:off x="4284722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9" name="Straight Connector 488">
              <a:extLst>
                <a:ext uri="{FF2B5EF4-FFF2-40B4-BE49-F238E27FC236}">
                  <a16:creationId xmlns:a16="http://schemas.microsoft.com/office/drawing/2014/main" id="{41E8BFAF-06DE-497B-AE9B-730C4D47745D}"/>
                </a:ext>
              </a:extLst>
            </p:cNvPr>
            <p:cNvCxnSpPr>
              <a:cxnSpLocks/>
            </p:cNvCxnSpPr>
            <p:nvPr/>
          </p:nvCxnSpPr>
          <p:spPr>
            <a:xfrm>
              <a:off x="4831297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>
              <a:extLst>
                <a:ext uri="{FF2B5EF4-FFF2-40B4-BE49-F238E27FC236}">
                  <a16:creationId xmlns:a16="http://schemas.microsoft.com/office/drawing/2014/main" id="{D5895C27-2AAC-4AC7-877E-6E35C2D0F12C}"/>
                </a:ext>
              </a:extLst>
            </p:cNvPr>
            <p:cNvCxnSpPr>
              <a:cxnSpLocks/>
            </p:cNvCxnSpPr>
            <p:nvPr/>
          </p:nvCxnSpPr>
          <p:spPr>
            <a:xfrm>
              <a:off x="5337305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>
              <a:extLst>
                <a:ext uri="{FF2B5EF4-FFF2-40B4-BE49-F238E27FC236}">
                  <a16:creationId xmlns:a16="http://schemas.microsoft.com/office/drawing/2014/main" id="{27150FC1-C6F3-46CF-9DA8-73F504C43043}"/>
                </a:ext>
              </a:extLst>
            </p:cNvPr>
            <p:cNvCxnSpPr>
              <a:cxnSpLocks/>
            </p:cNvCxnSpPr>
            <p:nvPr/>
          </p:nvCxnSpPr>
          <p:spPr>
            <a:xfrm>
              <a:off x="5852173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CF75557F-D4EE-4E65-B624-BC5529C1A670}"/>
                </a:ext>
              </a:extLst>
            </p:cNvPr>
            <p:cNvCxnSpPr>
              <a:cxnSpLocks/>
            </p:cNvCxnSpPr>
            <p:nvPr/>
          </p:nvCxnSpPr>
          <p:spPr>
            <a:xfrm>
              <a:off x="6270469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>
              <a:extLst>
                <a:ext uri="{FF2B5EF4-FFF2-40B4-BE49-F238E27FC236}">
                  <a16:creationId xmlns:a16="http://schemas.microsoft.com/office/drawing/2014/main" id="{5ED6B559-CE56-4167-A1BD-6835D0549E7B}"/>
                </a:ext>
              </a:extLst>
            </p:cNvPr>
            <p:cNvCxnSpPr>
              <a:cxnSpLocks/>
            </p:cNvCxnSpPr>
            <p:nvPr/>
          </p:nvCxnSpPr>
          <p:spPr>
            <a:xfrm>
              <a:off x="6688765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>
              <a:extLst>
                <a:ext uri="{FF2B5EF4-FFF2-40B4-BE49-F238E27FC236}">
                  <a16:creationId xmlns:a16="http://schemas.microsoft.com/office/drawing/2014/main" id="{655D2F05-B6A4-4CF3-AB55-41AB6D3C280C}"/>
                </a:ext>
              </a:extLst>
            </p:cNvPr>
            <p:cNvCxnSpPr>
              <a:cxnSpLocks/>
            </p:cNvCxnSpPr>
            <p:nvPr/>
          </p:nvCxnSpPr>
          <p:spPr>
            <a:xfrm>
              <a:off x="7134153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473849C5-6800-449E-89F3-B9AB619213A9}"/>
                </a:ext>
              </a:extLst>
            </p:cNvPr>
            <p:cNvCxnSpPr>
              <a:cxnSpLocks/>
            </p:cNvCxnSpPr>
            <p:nvPr/>
          </p:nvCxnSpPr>
          <p:spPr>
            <a:xfrm>
              <a:off x="7531498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>
              <a:extLst>
                <a:ext uri="{FF2B5EF4-FFF2-40B4-BE49-F238E27FC236}">
                  <a16:creationId xmlns:a16="http://schemas.microsoft.com/office/drawing/2014/main" id="{D443BC71-45AD-4067-819F-08FCD6580A65}"/>
                </a:ext>
              </a:extLst>
            </p:cNvPr>
            <p:cNvCxnSpPr>
              <a:cxnSpLocks/>
            </p:cNvCxnSpPr>
            <p:nvPr/>
          </p:nvCxnSpPr>
          <p:spPr>
            <a:xfrm>
              <a:off x="7893370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>
              <a:extLst>
                <a:ext uri="{FF2B5EF4-FFF2-40B4-BE49-F238E27FC236}">
                  <a16:creationId xmlns:a16="http://schemas.microsoft.com/office/drawing/2014/main" id="{955D5630-84BA-433B-B223-C6F7A32D2FCC}"/>
                </a:ext>
              </a:extLst>
            </p:cNvPr>
            <p:cNvCxnSpPr>
              <a:cxnSpLocks/>
            </p:cNvCxnSpPr>
            <p:nvPr/>
          </p:nvCxnSpPr>
          <p:spPr>
            <a:xfrm>
              <a:off x="8272535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214F8BCF-2E9F-4EED-9649-CA892282A18D}"/>
                </a:ext>
              </a:extLst>
            </p:cNvPr>
            <p:cNvCxnSpPr>
              <a:cxnSpLocks/>
            </p:cNvCxnSpPr>
            <p:nvPr/>
          </p:nvCxnSpPr>
          <p:spPr>
            <a:xfrm>
              <a:off x="8620726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5F0C3CE1-C0E5-49CC-9EB1-88BCA4EE9764}"/>
                </a:ext>
              </a:extLst>
            </p:cNvPr>
            <p:cNvCxnSpPr>
              <a:cxnSpLocks/>
            </p:cNvCxnSpPr>
            <p:nvPr/>
          </p:nvCxnSpPr>
          <p:spPr>
            <a:xfrm>
              <a:off x="9018969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>
              <a:extLst>
                <a:ext uri="{FF2B5EF4-FFF2-40B4-BE49-F238E27FC236}">
                  <a16:creationId xmlns:a16="http://schemas.microsoft.com/office/drawing/2014/main" id="{38A04634-6E33-44B9-A1D0-ACA2B261ADFF}"/>
                </a:ext>
              </a:extLst>
            </p:cNvPr>
            <p:cNvCxnSpPr>
              <a:cxnSpLocks/>
            </p:cNvCxnSpPr>
            <p:nvPr/>
          </p:nvCxnSpPr>
          <p:spPr>
            <a:xfrm>
              <a:off x="9459607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C49AD7D4-888D-42FA-AF1F-0D41A79616EF}"/>
                </a:ext>
              </a:extLst>
            </p:cNvPr>
            <p:cNvCxnSpPr>
              <a:cxnSpLocks/>
            </p:cNvCxnSpPr>
            <p:nvPr/>
          </p:nvCxnSpPr>
          <p:spPr>
            <a:xfrm>
              <a:off x="9892498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846E45DA-2A07-4B60-B1CE-F9C102A4510F}"/>
                </a:ext>
              </a:extLst>
            </p:cNvPr>
            <p:cNvCxnSpPr>
              <a:cxnSpLocks/>
            </p:cNvCxnSpPr>
            <p:nvPr/>
          </p:nvCxnSpPr>
          <p:spPr>
            <a:xfrm>
              <a:off x="10305223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B6A06D90-68CB-4299-B6B8-3EAF9889A0B4}"/>
                </a:ext>
              </a:extLst>
            </p:cNvPr>
            <p:cNvCxnSpPr>
              <a:cxnSpLocks/>
            </p:cNvCxnSpPr>
            <p:nvPr/>
          </p:nvCxnSpPr>
          <p:spPr>
            <a:xfrm>
              <a:off x="10717948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583E10B1-AA34-4194-94FD-BAB4DED94009}"/>
                </a:ext>
              </a:extLst>
            </p:cNvPr>
            <p:cNvGrpSpPr/>
            <p:nvPr/>
          </p:nvGrpSpPr>
          <p:grpSpPr>
            <a:xfrm>
              <a:off x="11177524" y="3045007"/>
              <a:ext cx="480501" cy="437746"/>
              <a:chOff x="11572651" y="3619904"/>
              <a:chExt cx="480501" cy="437746"/>
            </a:xfrm>
          </p:grpSpPr>
          <p:pic>
            <p:nvPicPr>
              <p:cNvPr id="334" name="Picture 333">
                <a:extLst>
                  <a:ext uri="{FF2B5EF4-FFF2-40B4-BE49-F238E27FC236}">
                    <a16:creationId xmlns:a16="http://schemas.microsoft.com/office/drawing/2014/main" id="{4E5BC6F5-6E59-44B4-A7FE-86F788330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2"/>
              <a:stretch>
                <a:fillRect/>
              </a:stretch>
            </p:blipFill>
            <p:spPr>
              <a:xfrm>
                <a:off x="11698601" y="3619904"/>
                <a:ext cx="228600" cy="228600"/>
              </a:xfrm>
              <a:prstGeom prst="rect">
                <a:avLst/>
              </a:prstGeom>
            </p:spPr>
          </p:pic>
          <p:sp>
            <p:nvSpPr>
              <p:cNvPr id="337" name="TextBox 336">
                <a:extLst>
                  <a:ext uri="{FF2B5EF4-FFF2-40B4-BE49-F238E27FC236}">
                    <a16:creationId xmlns:a16="http://schemas.microsoft.com/office/drawing/2014/main" id="{6636A06A-29B6-4FC2-AC71-D78346B2584C}"/>
                  </a:ext>
                </a:extLst>
              </p:cNvPr>
              <p:cNvSpPr txBox="1"/>
              <p:nvPr/>
            </p:nvSpPr>
            <p:spPr>
              <a:xfrm>
                <a:off x="11572651" y="3863751"/>
                <a:ext cx="480501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77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15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Form Recognizer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</p:grp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C81D3475-3DAA-4518-AD33-13AE064C9BE9}"/>
                </a:ext>
              </a:extLst>
            </p:cNvPr>
            <p:cNvCxnSpPr>
              <a:cxnSpLocks/>
            </p:cNvCxnSpPr>
            <p:nvPr/>
          </p:nvCxnSpPr>
          <p:spPr>
            <a:xfrm>
              <a:off x="11146160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77BFCBE1-B140-4E3C-9685-29D902BB0F7B}"/>
                </a:ext>
              </a:extLst>
            </p:cNvPr>
            <p:cNvCxnSpPr>
              <a:cxnSpLocks/>
            </p:cNvCxnSpPr>
            <p:nvPr/>
          </p:nvCxnSpPr>
          <p:spPr>
            <a:xfrm>
              <a:off x="11658025" y="2986799"/>
              <a:ext cx="0" cy="747130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9D33CC1-7718-40EF-92DF-5739D7840B02}"/>
                </a:ext>
              </a:extLst>
            </p:cNvPr>
            <p:cNvGrpSpPr/>
            <p:nvPr/>
          </p:nvGrpSpPr>
          <p:grpSpPr>
            <a:xfrm>
              <a:off x="11683169" y="3045007"/>
              <a:ext cx="479616" cy="380085"/>
              <a:chOff x="11683169" y="3045007"/>
              <a:chExt cx="479616" cy="380085"/>
            </a:xfrm>
          </p:grpSpPr>
          <p:pic>
            <p:nvPicPr>
              <p:cNvPr id="346" name="Picture 345">
                <a:extLst>
                  <a:ext uri="{FF2B5EF4-FFF2-40B4-BE49-F238E27FC236}">
                    <a16:creationId xmlns:a16="http://schemas.microsoft.com/office/drawing/2014/main" id="{A256EE39-4415-4538-BD7A-0D645F3B85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4"/>
              <a:stretch>
                <a:fillRect/>
              </a:stretch>
            </p:blipFill>
            <p:spPr>
              <a:xfrm>
                <a:off x="11808677" y="3045007"/>
                <a:ext cx="228600" cy="228600"/>
              </a:xfrm>
              <a:prstGeom prst="rect">
                <a:avLst/>
              </a:prstGeom>
            </p:spPr>
          </p:pic>
          <p:sp>
            <p:nvSpPr>
              <p:cNvPr id="349" name="TextBox 348">
                <a:extLst>
                  <a:ext uri="{FF2B5EF4-FFF2-40B4-BE49-F238E27FC236}">
                    <a16:creationId xmlns:a16="http://schemas.microsoft.com/office/drawing/2014/main" id="{DD6B2678-4D6C-4A4F-9296-6E48CBFEB6C8}"/>
                  </a:ext>
                </a:extLst>
              </p:cNvPr>
              <p:cNvSpPr txBox="1"/>
              <p:nvPr/>
            </p:nvSpPr>
            <p:spPr>
              <a:xfrm>
                <a:off x="11683169" y="3328142"/>
                <a:ext cx="479616" cy="969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77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15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ersonalizer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14605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5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5DA133-D013-47B8-9A08-7711C6EED4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5DA133-D013-47B8-9A08-7711C6EED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Rectangle: Rounded Corners 402">
            <a:extLst>
              <a:ext uri="{FF2B5EF4-FFF2-40B4-BE49-F238E27FC236}">
                <a16:creationId xmlns:a16="http://schemas.microsoft.com/office/drawing/2014/main" id="{6F869476-902B-4519-8FEE-867DC97C893B}"/>
              </a:ext>
            </a:extLst>
          </p:cNvPr>
          <p:cNvSpPr/>
          <p:nvPr/>
        </p:nvSpPr>
        <p:spPr bwMode="auto">
          <a:xfrm rot="5400000" flipH="1" flipV="1">
            <a:off x="8262454" y="-3363549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7" name="Rectangle: Rounded Corners 402">
            <a:extLst>
              <a:ext uri="{FF2B5EF4-FFF2-40B4-BE49-F238E27FC236}">
                <a16:creationId xmlns:a16="http://schemas.microsoft.com/office/drawing/2014/main" id="{7E17267B-50BE-4827-9037-009255661925}"/>
              </a:ext>
            </a:extLst>
          </p:cNvPr>
          <p:cNvSpPr/>
          <p:nvPr/>
        </p:nvSpPr>
        <p:spPr bwMode="auto">
          <a:xfrm rot="5400000">
            <a:off x="3490135" y="-3044488"/>
            <a:ext cx="319061" cy="7046159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319061 w 319061"/>
              <a:gd name="connsiteY0" fmla="*/ 7046159 h 7046159"/>
              <a:gd name="connsiteX1" fmla="*/ 0 w 319061"/>
              <a:gd name="connsiteY1" fmla="*/ 6727098 h 7046159"/>
              <a:gd name="connsiteX2" fmla="*/ 0 w 319061"/>
              <a:gd name="connsiteY2" fmla="*/ 0 h 704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061" h="7046159">
                <a:moveTo>
                  <a:pt x="319061" y="7046159"/>
                </a:moveTo>
                <a:cubicBezTo>
                  <a:pt x="142848" y="7046159"/>
                  <a:pt x="0" y="6903311"/>
                  <a:pt x="0" y="6727098"/>
                </a:cubicBezTo>
                <a:lnTo>
                  <a:pt x="0" y="0"/>
                </a:ln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8" name="Rectangle: Rounded Corners 402">
            <a:extLst>
              <a:ext uri="{FF2B5EF4-FFF2-40B4-BE49-F238E27FC236}">
                <a16:creationId xmlns:a16="http://schemas.microsoft.com/office/drawing/2014/main" id="{CB0AA41D-054F-4292-B964-C0AA16005D9A}"/>
              </a:ext>
            </a:extLst>
          </p:cNvPr>
          <p:cNvSpPr/>
          <p:nvPr/>
        </p:nvSpPr>
        <p:spPr bwMode="auto">
          <a:xfrm>
            <a:off x="126586" y="627857"/>
            <a:ext cx="11452666" cy="5966507"/>
          </a:xfrm>
          <a:custGeom>
            <a:avLst/>
            <a:gdLst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452666 w 11771727"/>
              <a:gd name="connsiteY2" fmla="*/ 0 h 7365220"/>
              <a:gd name="connsiteX3" fmla="*/ 11771727 w 11771727"/>
              <a:gd name="connsiteY3" fmla="*/ 319061 h 7365220"/>
              <a:gd name="connsiteX4" fmla="*/ 11771727 w 11771727"/>
              <a:gd name="connsiteY4" fmla="*/ 7046159 h 7365220"/>
              <a:gd name="connsiteX5" fmla="*/ 11452666 w 11771727"/>
              <a:gd name="connsiteY5" fmla="*/ 7365220 h 7365220"/>
              <a:gd name="connsiteX6" fmla="*/ 319061 w 11771727"/>
              <a:gd name="connsiteY6" fmla="*/ 7365220 h 7365220"/>
              <a:gd name="connsiteX7" fmla="*/ 0 w 11771727"/>
              <a:gd name="connsiteY7" fmla="*/ 7046159 h 7365220"/>
              <a:gd name="connsiteX8" fmla="*/ 0 w 11771727"/>
              <a:gd name="connsiteY8" fmla="*/ 319061 h 7365220"/>
              <a:gd name="connsiteX0" fmla="*/ 0 w 11771727"/>
              <a:gd name="connsiteY0" fmla="*/ 319061 h 7365220"/>
              <a:gd name="connsiteX1" fmla="*/ 319061 w 11771727"/>
              <a:gd name="connsiteY1" fmla="*/ 0 h 7365220"/>
              <a:gd name="connsiteX2" fmla="*/ 11771727 w 11771727"/>
              <a:gd name="connsiteY2" fmla="*/ 319061 h 7365220"/>
              <a:gd name="connsiteX3" fmla="*/ 11771727 w 11771727"/>
              <a:gd name="connsiteY3" fmla="*/ 7046159 h 7365220"/>
              <a:gd name="connsiteX4" fmla="*/ 11452666 w 11771727"/>
              <a:gd name="connsiteY4" fmla="*/ 7365220 h 7365220"/>
              <a:gd name="connsiteX5" fmla="*/ 319061 w 11771727"/>
              <a:gd name="connsiteY5" fmla="*/ 7365220 h 7365220"/>
              <a:gd name="connsiteX6" fmla="*/ 0 w 11771727"/>
              <a:gd name="connsiteY6" fmla="*/ 7046159 h 7365220"/>
              <a:gd name="connsiteX7" fmla="*/ 0 w 11771727"/>
              <a:gd name="connsiteY7" fmla="*/ 319061 h 7365220"/>
              <a:gd name="connsiteX0" fmla="*/ 0 w 11771727"/>
              <a:gd name="connsiteY0" fmla="*/ 840887 h 7887046"/>
              <a:gd name="connsiteX1" fmla="*/ 11771727 w 11771727"/>
              <a:gd name="connsiteY1" fmla="*/ 840887 h 7887046"/>
              <a:gd name="connsiteX2" fmla="*/ 11771727 w 11771727"/>
              <a:gd name="connsiteY2" fmla="*/ 7567985 h 7887046"/>
              <a:gd name="connsiteX3" fmla="*/ 11452666 w 11771727"/>
              <a:gd name="connsiteY3" fmla="*/ 7887046 h 7887046"/>
              <a:gd name="connsiteX4" fmla="*/ 319061 w 11771727"/>
              <a:gd name="connsiteY4" fmla="*/ 7887046 h 7887046"/>
              <a:gd name="connsiteX5" fmla="*/ 0 w 11771727"/>
              <a:gd name="connsiteY5" fmla="*/ 7567985 h 7887046"/>
              <a:gd name="connsiteX6" fmla="*/ 0 w 11771727"/>
              <a:gd name="connsiteY6" fmla="*/ 840887 h 7887046"/>
              <a:gd name="connsiteX0" fmla="*/ 11771727 w 11863167"/>
              <a:gd name="connsiteY0" fmla="*/ 829794 h 7875953"/>
              <a:gd name="connsiteX1" fmla="*/ 11771727 w 11863167"/>
              <a:gd name="connsiteY1" fmla="*/ 7556892 h 7875953"/>
              <a:gd name="connsiteX2" fmla="*/ 11452666 w 11863167"/>
              <a:gd name="connsiteY2" fmla="*/ 7875953 h 7875953"/>
              <a:gd name="connsiteX3" fmla="*/ 319061 w 11863167"/>
              <a:gd name="connsiteY3" fmla="*/ 7875953 h 7875953"/>
              <a:gd name="connsiteX4" fmla="*/ 0 w 11863167"/>
              <a:gd name="connsiteY4" fmla="*/ 7556892 h 7875953"/>
              <a:gd name="connsiteX5" fmla="*/ 0 w 11863167"/>
              <a:gd name="connsiteY5" fmla="*/ 829794 h 7875953"/>
              <a:gd name="connsiteX6" fmla="*/ 11863167 w 11863167"/>
              <a:gd name="connsiteY6" fmla="*/ 921234 h 7875953"/>
              <a:gd name="connsiteX0" fmla="*/ 11771727 w 11771727"/>
              <a:gd name="connsiteY0" fmla="*/ 0 h 7046159"/>
              <a:gd name="connsiteX1" fmla="*/ 11771727 w 11771727"/>
              <a:gd name="connsiteY1" fmla="*/ 6727098 h 7046159"/>
              <a:gd name="connsiteX2" fmla="*/ 11452666 w 11771727"/>
              <a:gd name="connsiteY2" fmla="*/ 7046159 h 7046159"/>
              <a:gd name="connsiteX3" fmla="*/ 319061 w 11771727"/>
              <a:gd name="connsiteY3" fmla="*/ 7046159 h 7046159"/>
              <a:gd name="connsiteX4" fmla="*/ 0 w 11771727"/>
              <a:gd name="connsiteY4" fmla="*/ 6727098 h 7046159"/>
              <a:gd name="connsiteX5" fmla="*/ 0 w 11771727"/>
              <a:gd name="connsiteY5" fmla="*/ 0 h 7046159"/>
              <a:gd name="connsiteX0" fmla="*/ 11771727 w 11771727"/>
              <a:gd name="connsiteY0" fmla="*/ 6727098 h 7046159"/>
              <a:gd name="connsiteX1" fmla="*/ 11452666 w 11771727"/>
              <a:gd name="connsiteY1" fmla="*/ 7046159 h 7046159"/>
              <a:gd name="connsiteX2" fmla="*/ 319061 w 11771727"/>
              <a:gd name="connsiteY2" fmla="*/ 7046159 h 7046159"/>
              <a:gd name="connsiteX3" fmla="*/ 0 w 11771727"/>
              <a:gd name="connsiteY3" fmla="*/ 6727098 h 7046159"/>
              <a:gd name="connsiteX4" fmla="*/ 0 w 11771727"/>
              <a:gd name="connsiteY4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0 w 11452666"/>
              <a:gd name="connsiteY3" fmla="*/ 0 h 7046159"/>
              <a:gd name="connsiteX0" fmla="*/ 11452666 w 11452666"/>
              <a:gd name="connsiteY0" fmla="*/ 7046159 h 7046159"/>
              <a:gd name="connsiteX1" fmla="*/ 319061 w 11452666"/>
              <a:gd name="connsiteY1" fmla="*/ 7046159 h 7046159"/>
              <a:gd name="connsiteX2" fmla="*/ 0 w 11452666"/>
              <a:gd name="connsiteY2" fmla="*/ 6727098 h 7046159"/>
              <a:gd name="connsiteX3" fmla="*/ 414 w 11452666"/>
              <a:gd name="connsiteY3" fmla="*/ 705796 h 7046159"/>
              <a:gd name="connsiteX4" fmla="*/ 0 w 11452666"/>
              <a:gd name="connsiteY4" fmla="*/ 0 h 7046159"/>
              <a:gd name="connsiteX0" fmla="*/ 11452666 w 11452666"/>
              <a:gd name="connsiteY0" fmla="*/ 6340363 h 6340363"/>
              <a:gd name="connsiteX1" fmla="*/ 319061 w 11452666"/>
              <a:gd name="connsiteY1" fmla="*/ 6340363 h 6340363"/>
              <a:gd name="connsiteX2" fmla="*/ 0 w 11452666"/>
              <a:gd name="connsiteY2" fmla="*/ 6021302 h 6340363"/>
              <a:gd name="connsiteX3" fmla="*/ 414 w 11452666"/>
              <a:gd name="connsiteY3" fmla="*/ 0 h 6340363"/>
              <a:gd name="connsiteX0" fmla="*/ 11452666 w 11452666"/>
              <a:gd name="connsiteY0" fmla="*/ 5999844 h 5999844"/>
              <a:gd name="connsiteX1" fmla="*/ 319061 w 11452666"/>
              <a:gd name="connsiteY1" fmla="*/ 5999844 h 5999844"/>
              <a:gd name="connsiteX2" fmla="*/ 0 w 11452666"/>
              <a:gd name="connsiteY2" fmla="*/ 5680783 h 5999844"/>
              <a:gd name="connsiteX3" fmla="*/ 2795 w 11452666"/>
              <a:gd name="connsiteY3" fmla="*/ 0 h 5999844"/>
              <a:gd name="connsiteX0" fmla="*/ 11452666 w 11452666"/>
              <a:gd name="connsiteY0" fmla="*/ 5966507 h 5966507"/>
              <a:gd name="connsiteX1" fmla="*/ 319061 w 11452666"/>
              <a:gd name="connsiteY1" fmla="*/ 5966507 h 5966507"/>
              <a:gd name="connsiteX2" fmla="*/ 0 w 11452666"/>
              <a:gd name="connsiteY2" fmla="*/ 5647446 h 5966507"/>
              <a:gd name="connsiteX3" fmla="*/ 414 w 11452666"/>
              <a:gd name="connsiteY3" fmla="*/ 0 h 5966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2666" h="5966507">
                <a:moveTo>
                  <a:pt x="11452666" y="5966507"/>
                </a:moveTo>
                <a:lnTo>
                  <a:pt x="319061" y="5966507"/>
                </a:lnTo>
                <a:cubicBezTo>
                  <a:pt x="142848" y="5966507"/>
                  <a:pt x="0" y="5823659"/>
                  <a:pt x="0" y="5647446"/>
                </a:cubicBezTo>
                <a:cubicBezTo>
                  <a:pt x="932" y="3753852"/>
                  <a:pt x="-518" y="1893594"/>
                  <a:pt x="414" y="0"/>
                </a:cubicBezTo>
              </a:path>
            </a:pathLst>
          </a:cu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1D7682CB-2C51-479F-9427-DB84677A2E43}"/>
              </a:ext>
            </a:extLst>
          </p:cNvPr>
          <p:cNvSpPr/>
          <p:nvPr/>
        </p:nvSpPr>
        <p:spPr bwMode="auto">
          <a:xfrm>
            <a:off x="1653286" y="217461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DA601FB6-24BF-45CC-8AB4-E1C8A4D88AEE}"/>
              </a:ext>
            </a:extLst>
          </p:cNvPr>
          <p:cNvSpPr/>
          <p:nvPr/>
        </p:nvSpPr>
        <p:spPr bwMode="auto">
          <a:xfrm>
            <a:off x="104475" y="6383751"/>
            <a:ext cx="203200" cy="203200"/>
          </a:xfrm>
          <a:prstGeom prst="ellipse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F751A8B-8CF6-4EA8-86B9-665513E601A4}"/>
              </a:ext>
            </a:extLst>
          </p:cNvPr>
          <p:cNvSpPr/>
          <p:nvPr/>
        </p:nvSpPr>
        <p:spPr bwMode="auto">
          <a:xfrm>
            <a:off x="9501756" y="6483994"/>
            <a:ext cx="203199" cy="2031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BAA34F-83AE-406F-83DD-2BCEF543D81F}"/>
              </a:ext>
            </a:extLst>
          </p:cNvPr>
          <p:cNvGrpSpPr/>
          <p:nvPr/>
        </p:nvGrpSpPr>
        <p:grpSpPr>
          <a:xfrm>
            <a:off x="304975" y="595362"/>
            <a:ext cx="11887025" cy="655389"/>
            <a:chOff x="304975" y="595362"/>
            <a:chExt cx="11887025" cy="655389"/>
          </a:xfrm>
        </p:grpSpPr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5E231799-ABB6-4E9E-ABB8-FAE01D4D9F5F}"/>
                </a:ext>
              </a:extLst>
            </p:cNvPr>
            <p:cNvSpPr/>
            <p:nvPr/>
          </p:nvSpPr>
          <p:spPr bwMode="auto">
            <a:xfrm>
              <a:off x="1402080" y="595362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D0277F7A-B5A1-42B5-B921-14EFB7217891}"/>
                </a:ext>
              </a:extLst>
            </p:cNvPr>
            <p:cNvSpPr/>
            <p:nvPr/>
          </p:nvSpPr>
          <p:spPr bwMode="auto">
            <a:xfrm>
              <a:off x="304975" y="595362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Web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B66601A1-B328-44F3-A603-0085A1EE8053}"/>
                </a:ext>
              </a:extLst>
            </p:cNvPr>
            <p:cNvSpPr txBox="1"/>
            <p:nvPr/>
          </p:nvSpPr>
          <p:spPr>
            <a:xfrm>
              <a:off x="1488121" y="995306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 Service – Web Ap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E458CEF6-DBAF-4028-8E66-813EEA30B871}"/>
                </a:ext>
              </a:extLst>
            </p:cNvPr>
            <p:cNvSpPr txBox="1"/>
            <p:nvPr/>
          </p:nvSpPr>
          <p:spPr>
            <a:xfrm>
              <a:off x="2391723" y="995306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 Managemen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9BB74962-875E-4FAB-B49B-DAA9FC05A8A5}"/>
                </a:ext>
              </a:extLst>
            </p:cNvPr>
            <p:cNvSpPr txBox="1"/>
            <p:nvPr/>
          </p:nvSpPr>
          <p:spPr>
            <a:xfrm>
              <a:off x="3295325" y="995306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ent Delivery Network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36DEF136-2E36-4B62-A5BC-07C10E2F8011}"/>
                </a:ext>
              </a:extLst>
            </p:cNvPr>
            <p:cNvSpPr txBox="1"/>
            <p:nvPr/>
          </p:nvSpPr>
          <p:spPr>
            <a:xfrm>
              <a:off x="4198927" y="995306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otification Hub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F5453C25-F77C-4D04-9CBF-15BFFEC7ECDA}"/>
                </a:ext>
              </a:extLst>
            </p:cNvPr>
            <p:cNvSpPr txBox="1"/>
            <p:nvPr/>
          </p:nvSpPr>
          <p:spPr>
            <a:xfrm>
              <a:off x="6909733" y="995306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</a:t>
              </a: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gnalR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ervic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384D46AF-72AB-4BB6-87ED-1835A524BC7A}"/>
                </a:ext>
              </a:extLst>
            </p:cNvPr>
            <p:cNvSpPr txBox="1"/>
            <p:nvPr/>
          </p:nvSpPr>
          <p:spPr>
            <a:xfrm>
              <a:off x="6006131" y="995306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 Ap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173D9897-1ADE-4B55-B83A-E0235484D133}"/>
                </a:ext>
              </a:extLst>
            </p:cNvPr>
            <p:cNvSpPr txBox="1"/>
            <p:nvPr/>
          </p:nvSpPr>
          <p:spPr>
            <a:xfrm>
              <a:off x="5102529" y="995306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earch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CD807BCC-A81F-4295-BC7B-A306E3511130}"/>
                </a:ext>
              </a:extLst>
            </p:cNvPr>
            <p:cNvCxnSpPr>
              <a:cxnSpLocks/>
            </p:cNvCxnSpPr>
            <p:nvPr/>
          </p:nvCxnSpPr>
          <p:spPr>
            <a:xfrm>
              <a:off x="230568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76DCA2B-2E23-48EC-A375-7EEF5FC8B4B4}"/>
                </a:ext>
              </a:extLst>
            </p:cNvPr>
            <p:cNvCxnSpPr>
              <a:cxnSpLocks/>
            </p:cNvCxnSpPr>
            <p:nvPr/>
          </p:nvCxnSpPr>
          <p:spPr>
            <a:xfrm>
              <a:off x="3209284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54CEC41-FFA2-4359-858C-14084618AF77}"/>
                </a:ext>
              </a:extLst>
            </p:cNvPr>
            <p:cNvCxnSpPr>
              <a:cxnSpLocks/>
            </p:cNvCxnSpPr>
            <p:nvPr/>
          </p:nvCxnSpPr>
          <p:spPr>
            <a:xfrm>
              <a:off x="4112886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ABD34535-5743-4A3C-BFCA-B86DBF6AD4DE}"/>
                </a:ext>
              </a:extLst>
            </p:cNvPr>
            <p:cNvCxnSpPr>
              <a:cxnSpLocks/>
            </p:cNvCxnSpPr>
            <p:nvPr/>
          </p:nvCxnSpPr>
          <p:spPr>
            <a:xfrm>
              <a:off x="5016488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4FDC6328-A710-472A-9DE7-635C33AE7A23}"/>
                </a:ext>
              </a:extLst>
            </p:cNvPr>
            <p:cNvCxnSpPr>
              <a:cxnSpLocks/>
            </p:cNvCxnSpPr>
            <p:nvPr/>
          </p:nvCxnSpPr>
          <p:spPr>
            <a:xfrm>
              <a:off x="5920090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18FA6686-A620-4839-B594-9CB1D0449880}"/>
                </a:ext>
              </a:extLst>
            </p:cNvPr>
            <p:cNvCxnSpPr>
              <a:cxnSpLocks/>
            </p:cNvCxnSpPr>
            <p:nvPr/>
          </p:nvCxnSpPr>
          <p:spPr>
            <a:xfrm>
              <a:off x="6823692" y="595362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" name="Graphic 204">
              <a:extLst>
                <a:ext uri="{FF2B5EF4-FFF2-40B4-BE49-F238E27FC236}">
                  <a16:creationId xmlns:a16="http://schemas.microsoft.com/office/drawing/2014/main" id="{DECDB85F-0EE1-4760-9EEA-4FECCC4A79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736578" y="682524"/>
              <a:ext cx="234608" cy="234606"/>
            </a:xfrm>
            <a:prstGeom prst="rect">
              <a:avLst/>
            </a:prstGeom>
          </p:spPr>
        </p:pic>
        <p:pic>
          <p:nvPicPr>
            <p:cNvPr id="206" name="Graphic 205">
              <a:extLst>
                <a:ext uri="{FF2B5EF4-FFF2-40B4-BE49-F238E27FC236}">
                  <a16:creationId xmlns:a16="http://schemas.microsoft.com/office/drawing/2014/main" id="{3D074572-6BD5-47AF-A2D7-9819DF0D9C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641304" y="685021"/>
              <a:ext cx="232358" cy="232358"/>
            </a:xfrm>
            <a:prstGeom prst="rect">
              <a:avLst/>
            </a:prstGeom>
          </p:spPr>
        </p:pic>
        <p:pic>
          <p:nvPicPr>
            <p:cNvPr id="150" name="Picture 149">
              <a:extLst>
                <a:ext uri="{FF2B5EF4-FFF2-40B4-BE49-F238E27FC236}">
                  <a16:creationId xmlns:a16="http://schemas.microsoft.com/office/drawing/2014/main" id="{EBD2A3D9-0D8E-425F-A3EF-38B32CE99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2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468990" y="726898"/>
              <a:ext cx="384190" cy="194656"/>
            </a:xfrm>
            <a:prstGeom prst="rect">
              <a:avLst/>
            </a:prstGeom>
          </p:spPr>
        </p:pic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DF6C259D-7053-4536-B29E-B04EB326F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455193" y="699873"/>
              <a:ext cx="218988" cy="218986"/>
            </a:xfrm>
            <a:prstGeom prst="rect">
              <a:avLst/>
            </a:prstGeom>
          </p:spPr>
        </p:pic>
        <p:pic>
          <p:nvPicPr>
            <p:cNvPr id="270" name="Picture 269">
              <a:extLst>
                <a:ext uri="{FF2B5EF4-FFF2-40B4-BE49-F238E27FC236}">
                  <a16:creationId xmlns:a16="http://schemas.microsoft.com/office/drawing/2014/main" id="{AEA58FB8-E038-49EE-B356-906B4A3BB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346629" y="672845"/>
              <a:ext cx="243320" cy="243320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FD34F661-48C9-4C86-9AB3-961377E63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250231" y="672847"/>
              <a:ext cx="243320" cy="243318"/>
            </a:xfrm>
            <a:prstGeom prst="rect">
              <a:avLst/>
            </a:prstGeom>
          </p:spPr>
        </p:pic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8F166B69-B4C0-4540-9D6D-5219D89E4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7166000" y="699873"/>
              <a:ext cx="218988" cy="21898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30919FD-3D10-49C1-A2BD-83FEC2465F4F}"/>
              </a:ext>
            </a:extLst>
          </p:cNvPr>
          <p:cNvGrpSpPr/>
          <p:nvPr/>
        </p:nvGrpSpPr>
        <p:grpSpPr>
          <a:xfrm>
            <a:off x="304975" y="1433125"/>
            <a:ext cx="11887025" cy="655389"/>
            <a:chOff x="304975" y="1433125"/>
            <a:chExt cx="11887025" cy="655389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3514CE9E-3351-45F1-990A-4D01951D0FEC}"/>
                </a:ext>
              </a:extLst>
            </p:cNvPr>
            <p:cNvSpPr/>
            <p:nvPr/>
          </p:nvSpPr>
          <p:spPr bwMode="auto">
            <a:xfrm>
              <a:off x="1402080" y="1433125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F103F1D9-7A75-4C80-8934-8326B486358B}"/>
                </a:ext>
              </a:extLst>
            </p:cNvPr>
            <p:cNvSpPr/>
            <p:nvPr/>
          </p:nvSpPr>
          <p:spPr bwMode="auto">
            <a:xfrm>
              <a:off x="304975" y="1433125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Mobile</a:t>
              </a:r>
            </a:p>
          </p:txBody>
        </p: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CD905301-2076-44E7-A336-5D5742C891D8}"/>
                </a:ext>
              </a:extLst>
            </p:cNvPr>
            <p:cNvSpPr txBox="1"/>
            <p:nvPr/>
          </p:nvSpPr>
          <p:spPr>
            <a:xfrm>
              <a:off x="1488121" y="1802674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p Service – Mobile Ap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26" name="Picture 225">
              <a:extLst>
                <a:ext uri="{FF2B5EF4-FFF2-40B4-BE49-F238E27FC236}">
                  <a16:creationId xmlns:a16="http://schemas.microsoft.com/office/drawing/2014/main" id="{913479F7-74B8-4444-AFD6-D7EC85F98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0597" y="1474616"/>
              <a:ext cx="286568" cy="286568"/>
            </a:xfrm>
            <a:prstGeom prst="rect">
              <a:avLst/>
            </a:prstGeom>
          </p:spPr>
        </p:pic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B7F2CFA4-F133-49B1-8E33-5A3395BEA9C7}"/>
                </a:ext>
              </a:extLst>
            </p:cNvPr>
            <p:cNvSpPr txBox="1"/>
            <p:nvPr/>
          </p:nvSpPr>
          <p:spPr>
            <a:xfrm>
              <a:off x="2391723" y="1802674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otification Hub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16B34FA5-B663-4699-BD4C-2E85091CE7E3}"/>
                </a:ext>
              </a:extLst>
            </p:cNvPr>
            <p:cNvSpPr txBox="1"/>
            <p:nvPr/>
          </p:nvSpPr>
          <p:spPr>
            <a:xfrm>
              <a:off x="3295325" y="1802674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 Ap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22" name="Picture 221">
              <a:extLst>
                <a:ext uri="{FF2B5EF4-FFF2-40B4-BE49-F238E27FC236}">
                  <a16:creationId xmlns:a16="http://schemas.microsoft.com/office/drawing/2014/main" id="{9F7525E0-0B37-4AC5-BCFD-3DDC70328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541520" y="1522054"/>
              <a:ext cx="239130" cy="239130"/>
            </a:xfrm>
            <a:prstGeom prst="rect">
              <a:avLst/>
            </a:prstGeom>
          </p:spPr>
        </p:pic>
        <p:pic>
          <p:nvPicPr>
            <p:cNvPr id="219" name="Picture 218">
              <a:extLst>
                <a:ext uri="{FF2B5EF4-FFF2-40B4-BE49-F238E27FC236}">
                  <a16:creationId xmlns:a16="http://schemas.microsoft.com/office/drawing/2014/main" id="{967C7CE8-F8D1-47F2-AF2F-AEF6402F8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447170" y="1526150"/>
              <a:ext cx="235034" cy="235034"/>
            </a:xfrm>
            <a:prstGeom prst="rect">
              <a:avLst/>
            </a:prstGeom>
          </p:spPr>
        </p:pic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6AED70A9-FAF8-416A-9982-3B5F28E07845}"/>
                </a:ext>
              </a:extLst>
            </p:cNvPr>
            <p:cNvSpPr txBox="1"/>
            <p:nvPr/>
          </p:nvSpPr>
          <p:spPr>
            <a:xfrm>
              <a:off x="4198927" y="1802674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2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S App Cent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17" name="Picture 216">
              <a:extLst>
                <a:ext uri="{FF2B5EF4-FFF2-40B4-BE49-F238E27FC236}">
                  <a16:creationId xmlns:a16="http://schemas.microsoft.com/office/drawing/2014/main" id="{47C488CA-B76E-4A30-8AD1-22D0C1A6E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5375028" y="1522053"/>
              <a:ext cx="186522" cy="239131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1D9ECE2D-CAA5-41ED-957D-89297DED1B9A}"/>
                </a:ext>
              </a:extLst>
            </p:cNvPr>
            <p:cNvSpPr txBox="1"/>
            <p:nvPr/>
          </p:nvSpPr>
          <p:spPr>
            <a:xfrm>
              <a:off x="5102529" y="1802674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Ma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15" name="Picture 214">
              <a:extLst>
                <a:ext uri="{FF2B5EF4-FFF2-40B4-BE49-F238E27FC236}">
                  <a16:creationId xmlns:a16="http://schemas.microsoft.com/office/drawing/2014/main" id="{AE187916-89D8-4B68-98B8-0C44FDAAF4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6244628" y="1506657"/>
              <a:ext cx="254527" cy="254527"/>
            </a:xfrm>
            <a:prstGeom prst="rect">
              <a:avLst/>
            </a:prstGeom>
          </p:spPr>
        </p:pic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41D7BABB-8EFA-456B-8048-3AE1E04DFDB3}"/>
                </a:ext>
              </a:extLst>
            </p:cNvPr>
            <p:cNvSpPr txBox="1"/>
            <p:nvPr/>
          </p:nvSpPr>
          <p:spPr>
            <a:xfrm>
              <a:off x="6006131" y="1802674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no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Xamari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7632EA01-97A7-4138-BEFE-5E3B1902B879}"/>
                </a:ext>
              </a:extLst>
            </p:cNvPr>
            <p:cNvCxnSpPr>
              <a:cxnSpLocks/>
            </p:cNvCxnSpPr>
            <p:nvPr/>
          </p:nvCxnSpPr>
          <p:spPr>
            <a:xfrm>
              <a:off x="2305682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9B13C636-70AA-456D-9F92-B692E5DFA124}"/>
                </a:ext>
              </a:extLst>
            </p:cNvPr>
            <p:cNvCxnSpPr>
              <a:cxnSpLocks/>
            </p:cNvCxnSpPr>
            <p:nvPr/>
          </p:nvCxnSpPr>
          <p:spPr>
            <a:xfrm>
              <a:off x="3209284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8A72165F-E7D5-4947-878A-96FAADB06865}"/>
                </a:ext>
              </a:extLst>
            </p:cNvPr>
            <p:cNvCxnSpPr>
              <a:cxnSpLocks/>
            </p:cNvCxnSpPr>
            <p:nvPr/>
          </p:nvCxnSpPr>
          <p:spPr>
            <a:xfrm>
              <a:off x="4112886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0A5BF82-1EF2-45F6-A37C-31997B5C5417}"/>
                </a:ext>
              </a:extLst>
            </p:cNvPr>
            <p:cNvCxnSpPr>
              <a:cxnSpLocks/>
            </p:cNvCxnSpPr>
            <p:nvPr/>
          </p:nvCxnSpPr>
          <p:spPr>
            <a:xfrm>
              <a:off x="5016488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90D0D933-982F-43ED-BC3D-0F644CD7AB70}"/>
                </a:ext>
              </a:extLst>
            </p:cNvPr>
            <p:cNvCxnSpPr>
              <a:cxnSpLocks/>
            </p:cNvCxnSpPr>
            <p:nvPr/>
          </p:nvCxnSpPr>
          <p:spPr>
            <a:xfrm>
              <a:off x="5920090" y="1433125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2" name="Picture 231">
              <a:extLst>
                <a:ext uri="{FF2B5EF4-FFF2-40B4-BE49-F238E27FC236}">
                  <a16:creationId xmlns:a16="http://schemas.microsoft.com/office/drawing/2014/main" id="{1239825D-CB91-435D-8DF0-C1C127B08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646202" y="1538623"/>
              <a:ext cx="222562" cy="222561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3EDD1E2-ADD0-4E56-BD1B-8A01FD19F228}"/>
              </a:ext>
            </a:extLst>
          </p:cNvPr>
          <p:cNvGrpSpPr/>
          <p:nvPr/>
        </p:nvGrpSpPr>
        <p:grpSpPr>
          <a:xfrm>
            <a:off x="304975" y="2270888"/>
            <a:ext cx="11887025" cy="655389"/>
            <a:chOff x="304975" y="2270888"/>
            <a:chExt cx="11887025" cy="655389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354FF2BA-58F7-4EF1-9032-3E382626EBBA}"/>
                </a:ext>
              </a:extLst>
            </p:cNvPr>
            <p:cNvSpPr/>
            <p:nvPr/>
          </p:nvSpPr>
          <p:spPr bwMode="auto">
            <a:xfrm>
              <a:off x="1402080" y="2270888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B704D810-707F-4846-90DF-2921C7AB82EE}"/>
                </a:ext>
              </a:extLst>
            </p:cNvPr>
            <p:cNvSpPr/>
            <p:nvPr/>
          </p:nvSpPr>
          <p:spPr bwMode="auto">
            <a:xfrm>
              <a:off x="304975" y="2270888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Media</a:t>
              </a:r>
            </a:p>
          </p:txBody>
        </p:sp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FC9FD734-F731-43C8-B1C8-8EB53979F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754928" y="2345611"/>
              <a:ext cx="197906" cy="197906"/>
            </a:xfrm>
            <a:prstGeom prst="rect">
              <a:avLst/>
            </a:prstGeom>
          </p:spPr>
        </p:pic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14A3915B-7188-4C45-B177-C3EBEDBAA9FB}"/>
                </a:ext>
              </a:extLst>
            </p:cNvPr>
            <p:cNvSpPr txBox="1"/>
            <p:nvPr/>
          </p:nvSpPr>
          <p:spPr>
            <a:xfrm>
              <a:off x="1488121" y="2577862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 Service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52" name="Picture 251">
              <a:extLst>
                <a:ext uri="{FF2B5EF4-FFF2-40B4-BE49-F238E27FC236}">
                  <a16:creationId xmlns:a16="http://schemas.microsoft.com/office/drawing/2014/main" id="{AED10FAF-3D5B-482C-B4F3-734FDCF6B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2658530" y="2345611"/>
              <a:ext cx="197906" cy="197906"/>
            </a:xfrm>
            <a:prstGeom prst="rect">
              <a:avLst/>
            </a:prstGeom>
          </p:spPr>
        </p:pic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BF51929A-922C-4186-AEF4-7C30DC637560}"/>
                </a:ext>
              </a:extLst>
            </p:cNvPr>
            <p:cNvSpPr txBox="1"/>
            <p:nvPr/>
          </p:nvSpPr>
          <p:spPr>
            <a:xfrm>
              <a:off x="2391723" y="2577862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coding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50" name="Picture 249">
              <a:extLst>
                <a:ext uri="{FF2B5EF4-FFF2-40B4-BE49-F238E27FC236}">
                  <a16:creationId xmlns:a16="http://schemas.microsoft.com/office/drawing/2014/main" id="{9A0753AB-4D93-4F4E-A0C8-5BB01C191F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3562132" y="2345613"/>
              <a:ext cx="197907" cy="197904"/>
            </a:xfrm>
            <a:prstGeom prst="rect">
              <a:avLst/>
            </a:prstGeom>
          </p:spPr>
        </p:pic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5A00EE7D-B0A5-4A3B-9065-8EF3B103154F}"/>
                </a:ext>
              </a:extLst>
            </p:cNvPr>
            <p:cNvSpPr txBox="1"/>
            <p:nvPr/>
          </p:nvSpPr>
          <p:spPr>
            <a:xfrm>
              <a:off x="3295325" y="2577862"/>
              <a:ext cx="731520" cy="31558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3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ve &amp; On-Demand Streaming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48" name="Picture 247">
              <a:extLst>
                <a:ext uri="{FF2B5EF4-FFF2-40B4-BE49-F238E27FC236}">
                  <a16:creationId xmlns:a16="http://schemas.microsoft.com/office/drawing/2014/main" id="{3A0B49BF-FDE2-44CC-B800-B0BA08E1B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4465735" y="2345611"/>
              <a:ext cx="197906" cy="197906"/>
            </a:xfrm>
            <a:prstGeom prst="rect">
              <a:avLst/>
            </a:prstGeom>
          </p:spPr>
        </p:pic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0E7B5046-62A1-42FF-BEDE-43F9D2560F46}"/>
                </a:ext>
              </a:extLst>
            </p:cNvPr>
            <p:cNvSpPr txBox="1"/>
            <p:nvPr/>
          </p:nvSpPr>
          <p:spPr>
            <a:xfrm>
              <a:off x="4198927" y="2577862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Media Play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46" name="Picture 245">
              <a:extLst>
                <a:ext uri="{FF2B5EF4-FFF2-40B4-BE49-F238E27FC236}">
                  <a16:creationId xmlns:a16="http://schemas.microsoft.com/office/drawing/2014/main" id="{5FA4F8C1-5E75-4C80-A295-5016F1AC9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5369337" y="2345612"/>
              <a:ext cx="197906" cy="197905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DBFEABB9-EFA8-46D5-A053-6CC39EC3C55E}"/>
                </a:ext>
              </a:extLst>
            </p:cNvPr>
            <p:cNvSpPr txBox="1"/>
            <p:nvPr/>
          </p:nvSpPr>
          <p:spPr>
            <a:xfrm>
              <a:off x="5102529" y="2577862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ent Protectio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44" name="Picture 243">
              <a:extLst>
                <a:ext uri="{FF2B5EF4-FFF2-40B4-BE49-F238E27FC236}">
                  <a16:creationId xmlns:a16="http://schemas.microsoft.com/office/drawing/2014/main" id="{B1A45266-6F04-4958-BFF7-1C10D895A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6272939" y="2345611"/>
              <a:ext cx="197906" cy="197906"/>
            </a:xfrm>
            <a:prstGeom prst="rect">
              <a:avLst/>
            </a:prstGeom>
          </p:spPr>
        </p:pic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B7CEBC59-3140-40C7-8314-5B17295A40F7}"/>
                </a:ext>
              </a:extLst>
            </p:cNvPr>
            <p:cNvSpPr txBox="1"/>
            <p:nvPr/>
          </p:nvSpPr>
          <p:spPr>
            <a:xfrm>
              <a:off x="6006131" y="2577862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 Analytic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242" name="Picture 241">
              <a:extLst>
                <a:ext uri="{FF2B5EF4-FFF2-40B4-BE49-F238E27FC236}">
                  <a16:creationId xmlns:a16="http://schemas.microsoft.com/office/drawing/2014/main" id="{EB229459-8A28-4B75-8A9D-529FE2BDA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7176540" y="2345611"/>
              <a:ext cx="197906" cy="197906"/>
            </a:xfrm>
            <a:prstGeom prst="rect">
              <a:avLst/>
            </a:prstGeom>
          </p:spPr>
        </p:pic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70A0FE2A-E941-47F0-8136-189FF83064DB}"/>
                </a:ext>
              </a:extLst>
            </p:cNvPr>
            <p:cNvSpPr txBox="1"/>
            <p:nvPr/>
          </p:nvSpPr>
          <p:spPr>
            <a:xfrm>
              <a:off x="6909733" y="2577862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ideo Indexer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9A90DED1-9C45-42A4-89AC-A930524F51B8}"/>
                </a:ext>
              </a:extLst>
            </p:cNvPr>
            <p:cNvCxnSpPr>
              <a:cxnSpLocks/>
            </p:cNvCxnSpPr>
            <p:nvPr/>
          </p:nvCxnSpPr>
          <p:spPr>
            <a:xfrm>
              <a:off x="2305682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863E01B5-6087-40D6-A256-4E82DCFA6A52}"/>
                </a:ext>
              </a:extLst>
            </p:cNvPr>
            <p:cNvCxnSpPr>
              <a:cxnSpLocks/>
            </p:cNvCxnSpPr>
            <p:nvPr/>
          </p:nvCxnSpPr>
          <p:spPr>
            <a:xfrm>
              <a:off x="3209284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01D5EF21-84B9-45FC-9836-F57103695134}"/>
                </a:ext>
              </a:extLst>
            </p:cNvPr>
            <p:cNvCxnSpPr>
              <a:cxnSpLocks/>
            </p:cNvCxnSpPr>
            <p:nvPr/>
          </p:nvCxnSpPr>
          <p:spPr>
            <a:xfrm>
              <a:off x="4112886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DAE1A4B1-9CD2-412A-887A-80BB3E9F8B12}"/>
                </a:ext>
              </a:extLst>
            </p:cNvPr>
            <p:cNvCxnSpPr>
              <a:cxnSpLocks/>
            </p:cNvCxnSpPr>
            <p:nvPr/>
          </p:nvCxnSpPr>
          <p:spPr>
            <a:xfrm>
              <a:off x="5016488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F7B6FE9D-3EAE-417E-932B-346166AA7D6C}"/>
                </a:ext>
              </a:extLst>
            </p:cNvPr>
            <p:cNvCxnSpPr>
              <a:cxnSpLocks/>
            </p:cNvCxnSpPr>
            <p:nvPr/>
          </p:nvCxnSpPr>
          <p:spPr>
            <a:xfrm>
              <a:off x="5920090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3980CA55-B70A-462A-9435-8E94344224C7}"/>
                </a:ext>
              </a:extLst>
            </p:cNvPr>
            <p:cNvCxnSpPr>
              <a:cxnSpLocks/>
            </p:cNvCxnSpPr>
            <p:nvPr/>
          </p:nvCxnSpPr>
          <p:spPr>
            <a:xfrm>
              <a:off x="6823692" y="2270888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2B486A0-E6F7-4E11-BF08-617E739557A0}"/>
              </a:ext>
            </a:extLst>
          </p:cNvPr>
          <p:cNvGrpSpPr/>
          <p:nvPr/>
        </p:nvGrpSpPr>
        <p:grpSpPr>
          <a:xfrm>
            <a:off x="304975" y="4784179"/>
            <a:ext cx="11887025" cy="655389"/>
            <a:chOff x="304975" y="4784179"/>
            <a:chExt cx="11887025" cy="655389"/>
          </a:xfrm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D4C664CF-D5F9-41DD-A2CE-D3B36160ED96}"/>
                </a:ext>
              </a:extLst>
            </p:cNvPr>
            <p:cNvSpPr/>
            <p:nvPr/>
          </p:nvSpPr>
          <p:spPr bwMode="auto">
            <a:xfrm>
              <a:off x="1402080" y="4784179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033FBCD6-A26B-4545-887D-46302E2D891F}"/>
                </a:ext>
              </a:extLst>
            </p:cNvPr>
            <p:cNvSpPr/>
            <p:nvPr/>
          </p:nvSpPr>
          <p:spPr bwMode="auto">
            <a:xfrm>
              <a:off x="304975" y="4784179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ntegration</a:t>
              </a:r>
            </a:p>
          </p:txBody>
        </p:sp>
        <p:pic>
          <p:nvPicPr>
            <p:cNvPr id="391" name="Picture 390">
              <a:extLst>
                <a:ext uri="{FF2B5EF4-FFF2-40B4-BE49-F238E27FC236}">
                  <a16:creationId xmlns:a16="http://schemas.microsoft.com/office/drawing/2014/main" id="{6CB5BA9A-CADF-464A-B3B6-008DAE1E1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2638172" y="4908518"/>
              <a:ext cx="238622" cy="238622"/>
            </a:xfrm>
            <a:prstGeom prst="rect">
              <a:avLst/>
            </a:prstGeom>
          </p:spPr>
        </p:pic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85522F96-52E0-4121-B3D4-B94E9C0DB1DD}"/>
                </a:ext>
              </a:extLst>
            </p:cNvPr>
            <p:cNvSpPr txBox="1"/>
            <p:nvPr/>
          </p:nvSpPr>
          <p:spPr>
            <a:xfrm>
              <a:off x="1488121" y="5212891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PI Management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60592A6-7408-4540-8759-DE3AB8A2CB9A}"/>
                </a:ext>
              </a:extLst>
            </p:cNvPr>
            <p:cNvSpPr txBox="1"/>
            <p:nvPr/>
          </p:nvSpPr>
          <p:spPr>
            <a:xfrm>
              <a:off x="2391723" y="5212891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ervice Bu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4" name="TextBox 403">
              <a:extLst>
                <a:ext uri="{FF2B5EF4-FFF2-40B4-BE49-F238E27FC236}">
                  <a16:creationId xmlns:a16="http://schemas.microsoft.com/office/drawing/2014/main" id="{0255EC82-A373-4BA9-9097-DBFE92103B94}"/>
                </a:ext>
              </a:extLst>
            </p:cNvPr>
            <p:cNvSpPr txBox="1"/>
            <p:nvPr/>
          </p:nvSpPr>
          <p:spPr>
            <a:xfrm>
              <a:off x="3295325" y="5212891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gic Ap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BB4053F0-3B81-4A5F-8954-0A8096682493}"/>
                </a:ext>
              </a:extLst>
            </p:cNvPr>
            <p:cNvSpPr txBox="1"/>
            <p:nvPr/>
          </p:nvSpPr>
          <p:spPr>
            <a:xfrm>
              <a:off x="4198927" y="5212891"/>
              <a:ext cx="731520" cy="121681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4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vent Grid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9BA0663D-F95D-4529-B3EC-19132CF36C0A}"/>
                </a:ext>
              </a:extLst>
            </p:cNvPr>
            <p:cNvCxnSpPr>
              <a:cxnSpLocks/>
            </p:cNvCxnSpPr>
            <p:nvPr/>
          </p:nvCxnSpPr>
          <p:spPr>
            <a:xfrm>
              <a:off x="2305682" y="4784179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Straight Connector 406">
              <a:extLst>
                <a:ext uri="{FF2B5EF4-FFF2-40B4-BE49-F238E27FC236}">
                  <a16:creationId xmlns:a16="http://schemas.microsoft.com/office/drawing/2014/main" id="{7CB416F7-EA9F-436C-9155-07F1B506B4F4}"/>
                </a:ext>
              </a:extLst>
            </p:cNvPr>
            <p:cNvCxnSpPr>
              <a:cxnSpLocks/>
            </p:cNvCxnSpPr>
            <p:nvPr/>
          </p:nvCxnSpPr>
          <p:spPr>
            <a:xfrm>
              <a:off x="3209284" y="4784179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FB04DA47-376B-409B-91CE-532D0CC7C3D4}"/>
                </a:ext>
              </a:extLst>
            </p:cNvPr>
            <p:cNvCxnSpPr>
              <a:cxnSpLocks/>
            </p:cNvCxnSpPr>
            <p:nvPr/>
          </p:nvCxnSpPr>
          <p:spPr>
            <a:xfrm>
              <a:off x="4112886" y="4784179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9" name="Graphic 408">
              <a:extLst>
                <a:ext uri="{FF2B5EF4-FFF2-40B4-BE49-F238E27FC236}">
                  <a16:creationId xmlns:a16="http://schemas.microsoft.com/office/drawing/2014/main" id="{0E32463E-4184-4BAB-A67A-00D04DF72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710024" y="4882355"/>
              <a:ext cx="287715" cy="287715"/>
            </a:xfrm>
            <a:prstGeom prst="rect">
              <a:avLst/>
            </a:prstGeom>
          </p:spPr>
        </p:pic>
        <p:pic>
          <p:nvPicPr>
            <p:cNvPr id="410" name="Graphic 409" descr="Logic Apps">
              <a:extLst>
                <a:ext uri="{FF2B5EF4-FFF2-40B4-BE49-F238E27FC236}">
                  <a16:creationId xmlns:a16="http://schemas.microsoft.com/office/drawing/2014/main" id="{D863A7AC-C5CF-4D08-B1E0-FFA10144E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1"/>
                </a:ext>
              </a:extLst>
            </a:blip>
            <a:stretch>
              <a:fillRect/>
            </a:stretch>
          </p:blipFill>
          <p:spPr>
            <a:xfrm>
              <a:off x="3499018" y="4845116"/>
              <a:ext cx="324134" cy="324134"/>
            </a:xfrm>
            <a:prstGeom prst="rect">
              <a:avLst/>
            </a:prstGeom>
          </p:spPr>
        </p:pic>
        <p:pic>
          <p:nvPicPr>
            <p:cNvPr id="411" name="Picture 410">
              <a:extLst>
                <a:ext uri="{FF2B5EF4-FFF2-40B4-BE49-F238E27FC236}">
                  <a16:creationId xmlns:a16="http://schemas.microsoft.com/office/drawing/2014/main" id="{CC35D293-BA49-43CF-BC55-C7E2B5C01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4444665" y="4907094"/>
              <a:ext cx="240045" cy="240045"/>
            </a:xfrm>
            <a:prstGeom prst="rect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6A4548F-09B4-44C8-866A-FAB7A138E560}"/>
              </a:ext>
            </a:extLst>
          </p:cNvPr>
          <p:cNvCxnSpPr/>
          <p:nvPr/>
        </p:nvCxnSpPr>
        <p:spPr>
          <a:xfrm>
            <a:off x="11071487" y="6594364"/>
            <a:ext cx="1120513" cy="0"/>
          </a:xfrm>
          <a:prstGeom prst="line">
            <a:avLst/>
          </a:prstGeom>
          <a:noFill/>
          <a:ln w="28575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61EEEDBB-7E88-492C-ABF4-A6F62B66FE97}"/>
              </a:ext>
            </a:extLst>
          </p:cNvPr>
          <p:cNvGrpSpPr/>
          <p:nvPr/>
        </p:nvGrpSpPr>
        <p:grpSpPr>
          <a:xfrm>
            <a:off x="304975" y="3946414"/>
            <a:ext cx="11887025" cy="655389"/>
            <a:chOff x="304975" y="3946414"/>
            <a:chExt cx="11887025" cy="655389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01399C7-0D35-4F56-BC5E-147C5D7203DE}"/>
                </a:ext>
              </a:extLst>
            </p:cNvPr>
            <p:cNvSpPr/>
            <p:nvPr/>
          </p:nvSpPr>
          <p:spPr bwMode="auto">
            <a:xfrm>
              <a:off x="1402080" y="3946414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40F593BA-5CDE-4B8F-A96B-1CE44FBEB0B8}"/>
                </a:ext>
              </a:extLst>
            </p:cNvPr>
            <p:cNvSpPr/>
            <p:nvPr/>
          </p:nvSpPr>
          <p:spPr bwMode="auto">
            <a:xfrm>
              <a:off x="304975" y="3946414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Mixed Reality</a:t>
              </a:r>
            </a:p>
          </p:txBody>
        </p:sp>
        <p:pic>
          <p:nvPicPr>
            <p:cNvPr id="363" name="Picture 362">
              <a:extLst>
                <a:ext uri="{FF2B5EF4-FFF2-40B4-BE49-F238E27FC236}">
                  <a16:creationId xmlns:a16="http://schemas.microsoft.com/office/drawing/2014/main" id="{153A088D-C50C-4A4F-BC77-4958E3F5C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2608878" y="4022946"/>
              <a:ext cx="297210" cy="297210"/>
            </a:xfrm>
            <a:prstGeom prst="rect">
              <a:avLst/>
            </a:prstGeom>
          </p:spPr>
        </p:pic>
        <p:sp>
          <p:nvSpPr>
            <p:cNvPr id="397" name="TextBox 396">
              <a:extLst>
                <a:ext uri="{FF2B5EF4-FFF2-40B4-BE49-F238E27FC236}">
                  <a16:creationId xmlns:a16="http://schemas.microsoft.com/office/drawing/2014/main" id="{F3CBCFA2-3D6B-40B2-9C76-023AC1FEFD77}"/>
                </a:ext>
              </a:extLst>
            </p:cNvPr>
            <p:cNvSpPr txBox="1"/>
            <p:nvPr/>
          </p:nvSpPr>
          <p:spPr>
            <a:xfrm>
              <a:off x="1488121" y="4346034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Digital Twin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D1D27849-9B37-4CF0-BDBC-C29944020B27}"/>
                </a:ext>
              </a:extLst>
            </p:cNvPr>
            <p:cNvSpPr txBox="1"/>
            <p:nvPr/>
          </p:nvSpPr>
          <p:spPr>
            <a:xfrm>
              <a:off x="2391723" y="4346034"/>
              <a:ext cx="731520" cy="218630"/>
            </a:xfrm>
            <a:prstGeom prst="rect">
              <a:avLst/>
            </a:prstGeom>
            <a:noFill/>
          </p:spPr>
          <p:txBody>
            <a:bodyPr wrap="square" lIns="12246" tIns="12246" rIns="12246" bIns="12246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  <a:hlinkClick r:id="rId5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Spatial Anchor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1247D02E-2EB4-4E53-8F33-37F2AC43F72E}"/>
                </a:ext>
              </a:extLst>
            </p:cNvPr>
            <p:cNvCxnSpPr>
              <a:cxnSpLocks/>
            </p:cNvCxnSpPr>
            <p:nvPr/>
          </p:nvCxnSpPr>
          <p:spPr>
            <a:xfrm>
              <a:off x="2305682" y="394641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1" name="Picture 400">
              <a:extLst>
                <a:ext uri="{FF2B5EF4-FFF2-40B4-BE49-F238E27FC236}">
                  <a16:creationId xmlns:a16="http://schemas.microsoft.com/office/drawing/2014/main" id="{19AC55C3-E027-432F-89F4-768E788C8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1745225" y="4047006"/>
              <a:ext cx="217313" cy="217312"/>
            </a:xfrm>
            <a:prstGeom prst="rect">
              <a:avLst/>
            </a:prstGeom>
          </p:spPr>
        </p:pic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7A4F5843-A866-4CFC-A88E-9FF5B6E479EC}"/>
                </a:ext>
              </a:extLst>
            </p:cNvPr>
            <p:cNvCxnSpPr>
              <a:cxnSpLocks/>
            </p:cNvCxnSpPr>
            <p:nvPr/>
          </p:nvCxnSpPr>
          <p:spPr>
            <a:xfrm>
              <a:off x="3209284" y="3946414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201CB0BE-FD02-4CF9-BF80-DE3C0FDEB1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3390644" y="4118489"/>
              <a:ext cx="301752" cy="144841"/>
            </a:xfrm>
            <a:prstGeom prst="rect">
              <a:avLst/>
            </a:prstGeom>
          </p:spPr>
        </p:pic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576FBAAF-EBF5-4ED3-B285-ED17EDFDC83E}"/>
                </a:ext>
              </a:extLst>
            </p:cNvPr>
            <p:cNvSpPr txBox="1"/>
            <p:nvPr/>
          </p:nvSpPr>
          <p:spPr>
            <a:xfrm>
              <a:off x="3281404" y="4346034"/>
              <a:ext cx="520232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244977">
                <a:lnSpc>
                  <a:spcPct val="90000"/>
                </a:lnSpc>
                <a:defRPr sz="700"/>
              </a:lvl1pPr>
            </a:lstStyle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zure Kinect DK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5C73B2-B975-42D7-A8F9-B98D5E7DB4FB}"/>
              </a:ext>
            </a:extLst>
          </p:cNvPr>
          <p:cNvGrpSpPr/>
          <p:nvPr/>
        </p:nvGrpSpPr>
        <p:grpSpPr>
          <a:xfrm>
            <a:off x="301115" y="5615733"/>
            <a:ext cx="11887025" cy="655389"/>
            <a:chOff x="301115" y="5615733"/>
            <a:chExt cx="11887025" cy="655389"/>
          </a:xfrm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396264CA-0C16-4763-97AE-E1AD5DB5FD5E}"/>
                </a:ext>
              </a:extLst>
            </p:cNvPr>
            <p:cNvSpPr/>
            <p:nvPr/>
          </p:nvSpPr>
          <p:spPr bwMode="auto">
            <a:xfrm>
              <a:off x="1398220" y="5615733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0FA4FD99-4575-4E40-94DB-306C82D7BA07}"/>
                </a:ext>
              </a:extLst>
            </p:cNvPr>
            <p:cNvSpPr/>
            <p:nvPr/>
          </p:nvSpPr>
          <p:spPr bwMode="auto">
            <a:xfrm>
              <a:off x="301115" y="5615733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Windows Virtual Desktop</a:t>
              </a:r>
            </a:p>
          </p:txBody>
        </p:sp>
        <p:sp>
          <p:nvSpPr>
            <p:cNvPr id="204" name="Rectangle: Rounded Corners 203">
              <a:extLst>
                <a:ext uri="{FF2B5EF4-FFF2-40B4-BE49-F238E27FC236}">
                  <a16:creationId xmlns:a16="http://schemas.microsoft.com/office/drawing/2014/main" id="{753E53DE-8452-40C6-A574-D721282F5A21}"/>
                </a:ext>
              </a:extLst>
            </p:cNvPr>
            <p:cNvSpPr/>
            <p:nvPr/>
          </p:nvSpPr>
          <p:spPr bwMode="auto">
            <a:xfrm>
              <a:off x="1546789" y="5980274"/>
              <a:ext cx="614184" cy="193899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2449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  <a:hlinkClick r:id="rId5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ndows Virtual Desktop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07" name="Picture 206">
              <a:extLst>
                <a:ext uri="{FF2B5EF4-FFF2-40B4-BE49-F238E27FC236}">
                  <a16:creationId xmlns:a16="http://schemas.microsoft.com/office/drawing/2014/main" id="{946243CC-A890-4648-84D4-A8649351C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1703005" y="5643368"/>
              <a:ext cx="301752" cy="301752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A2DF1F-7AF6-42F2-9959-E9483BA49421}"/>
              </a:ext>
            </a:extLst>
          </p:cNvPr>
          <p:cNvGrpSpPr/>
          <p:nvPr/>
        </p:nvGrpSpPr>
        <p:grpSpPr>
          <a:xfrm>
            <a:off x="304975" y="3108651"/>
            <a:ext cx="11887025" cy="655389"/>
            <a:chOff x="304975" y="3108651"/>
            <a:chExt cx="11887025" cy="655389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793388B9-8FCF-4C56-8059-76755C9DF230}"/>
                </a:ext>
              </a:extLst>
            </p:cNvPr>
            <p:cNvSpPr/>
            <p:nvPr/>
          </p:nvSpPr>
          <p:spPr bwMode="auto">
            <a:xfrm>
              <a:off x="1402080" y="3108651"/>
              <a:ext cx="10789920" cy="6553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0E6FF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4E75A352-6258-453E-9A7A-1F23EB6EA1EA}"/>
                </a:ext>
              </a:extLst>
            </p:cNvPr>
            <p:cNvSpPr/>
            <p:nvPr/>
          </p:nvSpPr>
          <p:spPr bwMode="auto">
            <a:xfrm>
              <a:off x="304975" y="3108651"/>
              <a:ext cx="1093616" cy="655389"/>
            </a:xfrm>
            <a:prstGeom prst="rect">
              <a:avLst/>
            </a:prstGeom>
            <a:solidFill>
              <a:schemeClr val="tx2"/>
            </a:solidFill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4981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0E6FF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nternet of Things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DDE229E-526E-46D0-A3F4-902C66EF5B2A}"/>
                </a:ext>
              </a:extLst>
            </p:cNvPr>
            <p:cNvGrpSpPr/>
            <p:nvPr/>
          </p:nvGrpSpPr>
          <p:grpSpPr>
            <a:xfrm>
              <a:off x="2374490" y="3173156"/>
              <a:ext cx="457200" cy="470739"/>
              <a:chOff x="2374490" y="3173156"/>
              <a:chExt cx="457200" cy="470739"/>
            </a:xfrm>
          </p:grpSpPr>
          <p:pic>
            <p:nvPicPr>
              <p:cNvPr id="319" name="Picture 318">
                <a:extLst>
                  <a:ext uri="{FF2B5EF4-FFF2-40B4-BE49-F238E27FC236}">
                    <a16:creationId xmlns:a16="http://schemas.microsoft.com/office/drawing/2014/main" id="{7662C77E-B21C-4093-ADB7-817FE44D3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1"/>
              <a:stretch>
                <a:fillRect/>
              </a:stretch>
            </p:blipFill>
            <p:spPr>
              <a:xfrm>
                <a:off x="2503251" y="3173156"/>
                <a:ext cx="199678" cy="212424"/>
              </a:xfrm>
              <a:prstGeom prst="rect">
                <a:avLst/>
              </a:prstGeom>
            </p:spPr>
          </p:pic>
          <p:sp>
            <p:nvSpPr>
              <p:cNvPr id="316" name="TextBox 315">
                <a:extLst>
                  <a:ext uri="{FF2B5EF4-FFF2-40B4-BE49-F238E27FC236}">
                    <a16:creationId xmlns:a16="http://schemas.microsoft.com/office/drawing/2014/main" id="{F6CB8B68-C3A8-4E66-B6FA-3A0DB1242A86}"/>
                  </a:ext>
                </a:extLst>
              </p:cNvPr>
              <p:cNvSpPr txBox="1"/>
              <p:nvPr/>
            </p:nvSpPr>
            <p:spPr>
              <a:xfrm>
                <a:off x="2374490" y="3425265"/>
                <a:ext cx="45720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6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Edg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53C0869-F549-4B8A-8FE8-0FCE6ED6D64A}"/>
                </a:ext>
              </a:extLst>
            </p:cNvPr>
            <p:cNvGrpSpPr/>
            <p:nvPr/>
          </p:nvGrpSpPr>
          <p:grpSpPr>
            <a:xfrm>
              <a:off x="2854894" y="3173156"/>
              <a:ext cx="457200" cy="470739"/>
              <a:chOff x="2854894" y="3173156"/>
              <a:chExt cx="457200" cy="470739"/>
            </a:xfrm>
          </p:grpSpPr>
          <p:pic>
            <p:nvPicPr>
              <p:cNvPr id="313" name="Picture 312">
                <a:extLst>
                  <a:ext uri="{FF2B5EF4-FFF2-40B4-BE49-F238E27FC236}">
                    <a16:creationId xmlns:a16="http://schemas.microsoft.com/office/drawing/2014/main" id="{2CACA807-C102-4B79-BA2C-DEB08A4778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3"/>
              <a:stretch>
                <a:fillRect/>
              </a:stretch>
            </p:blipFill>
            <p:spPr>
              <a:xfrm>
                <a:off x="2977037" y="3173156"/>
                <a:ext cx="212914" cy="212912"/>
              </a:xfrm>
              <a:prstGeom prst="rect">
                <a:avLst/>
              </a:prstGeom>
            </p:spPr>
          </p:pic>
          <p:sp>
            <p:nvSpPr>
              <p:cNvPr id="314" name="TextBox 313">
                <a:extLst>
                  <a:ext uri="{FF2B5EF4-FFF2-40B4-BE49-F238E27FC236}">
                    <a16:creationId xmlns:a16="http://schemas.microsoft.com/office/drawing/2014/main" id="{03C1ABBB-5D74-42C7-95AD-C40E60747944}"/>
                  </a:ext>
                </a:extLst>
              </p:cNvPr>
              <p:cNvSpPr txBox="1"/>
              <p:nvPr/>
            </p:nvSpPr>
            <p:spPr>
              <a:xfrm>
                <a:off x="2854894" y="3425265"/>
                <a:ext cx="45720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6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Central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6A1BA2B-34D3-45D6-8C6D-629D91F06D15}"/>
                </a:ext>
              </a:extLst>
            </p:cNvPr>
            <p:cNvGrpSpPr/>
            <p:nvPr/>
          </p:nvGrpSpPr>
          <p:grpSpPr>
            <a:xfrm>
              <a:off x="3335298" y="3168756"/>
              <a:ext cx="548640" cy="475139"/>
              <a:chOff x="3335298" y="3168756"/>
              <a:chExt cx="548640" cy="475139"/>
            </a:xfrm>
          </p:grpSpPr>
          <p:pic>
            <p:nvPicPr>
              <p:cNvPr id="311" name="Picture 310">
                <a:extLst>
                  <a:ext uri="{FF2B5EF4-FFF2-40B4-BE49-F238E27FC236}">
                    <a16:creationId xmlns:a16="http://schemas.microsoft.com/office/drawing/2014/main" id="{A908E1E6-DBD9-4F31-AE82-AF9E795FD6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5"/>
              <a:stretch>
                <a:fillRect/>
              </a:stretch>
            </p:blipFill>
            <p:spPr>
              <a:xfrm>
                <a:off x="3514216" y="3168756"/>
                <a:ext cx="190804" cy="216823"/>
              </a:xfrm>
              <a:prstGeom prst="rect">
                <a:avLst/>
              </a:prstGeom>
            </p:spPr>
          </p:pic>
          <p:sp>
            <p:nvSpPr>
              <p:cNvPr id="312" name="TextBox 311">
                <a:extLst>
                  <a:ext uri="{FF2B5EF4-FFF2-40B4-BE49-F238E27FC236}">
                    <a16:creationId xmlns:a16="http://schemas.microsoft.com/office/drawing/2014/main" id="{36CCCDB1-9153-484E-8918-7FB4C3D9C60C}"/>
                  </a:ext>
                </a:extLst>
              </p:cNvPr>
              <p:cNvSpPr txBox="1"/>
              <p:nvPr/>
            </p:nvSpPr>
            <p:spPr>
              <a:xfrm>
                <a:off x="3335298" y="3425265"/>
                <a:ext cx="54864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66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Solution Accelerator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BA7298F-F1A3-4DF6-BDCA-CC867903B93A}"/>
                </a:ext>
              </a:extLst>
            </p:cNvPr>
            <p:cNvGrpSpPr/>
            <p:nvPr/>
          </p:nvGrpSpPr>
          <p:grpSpPr>
            <a:xfrm>
              <a:off x="3846184" y="3168757"/>
              <a:ext cx="673305" cy="475138"/>
              <a:chOff x="3852957" y="3168757"/>
              <a:chExt cx="673305" cy="475138"/>
            </a:xfrm>
          </p:grpSpPr>
          <p:pic>
            <p:nvPicPr>
              <p:cNvPr id="309" name="Picture 308">
                <a:extLst>
                  <a:ext uri="{FF2B5EF4-FFF2-40B4-BE49-F238E27FC236}">
                    <a16:creationId xmlns:a16="http://schemas.microsoft.com/office/drawing/2014/main" id="{3C7F05F3-547E-465C-920E-1FDB5E20BA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6"/>
              <a:stretch>
                <a:fillRect/>
              </a:stretch>
            </p:blipFill>
            <p:spPr>
              <a:xfrm>
                <a:off x="4080953" y="3168757"/>
                <a:ext cx="217313" cy="217312"/>
              </a:xfrm>
              <a:prstGeom prst="rect">
                <a:avLst/>
              </a:prstGeom>
            </p:spPr>
          </p:pic>
          <p:sp>
            <p:nvSpPr>
              <p:cNvPr id="310" name="TextBox 309">
                <a:extLst>
                  <a:ext uri="{FF2B5EF4-FFF2-40B4-BE49-F238E27FC236}">
                    <a16:creationId xmlns:a16="http://schemas.microsoft.com/office/drawing/2014/main" id="{3C8B6669-4D5B-452A-B672-AA3F357E8561}"/>
                  </a:ext>
                </a:extLst>
              </p:cNvPr>
              <p:cNvSpPr txBox="1"/>
              <p:nvPr/>
            </p:nvSpPr>
            <p:spPr>
              <a:xfrm>
                <a:off x="3852957" y="3425265"/>
                <a:ext cx="673305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5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Digital Twin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D09DB85-85FE-4AB8-8737-059F485BB46A}"/>
                </a:ext>
              </a:extLst>
            </p:cNvPr>
            <p:cNvGrpSpPr/>
            <p:nvPr/>
          </p:nvGrpSpPr>
          <p:grpSpPr>
            <a:xfrm>
              <a:off x="4474956" y="3168756"/>
              <a:ext cx="640080" cy="572089"/>
              <a:chOff x="4603651" y="3168756"/>
              <a:chExt cx="640080" cy="572089"/>
            </a:xfrm>
          </p:grpSpPr>
          <p:pic>
            <p:nvPicPr>
              <p:cNvPr id="307" name="Picture 306">
                <a:extLst>
                  <a:ext uri="{FF2B5EF4-FFF2-40B4-BE49-F238E27FC236}">
                    <a16:creationId xmlns:a16="http://schemas.microsoft.com/office/drawing/2014/main" id="{E2E75A40-8E55-4D0F-B4F7-1595932FF9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4819382" y="3168756"/>
                <a:ext cx="208619" cy="217312"/>
              </a:xfrm>
              <a:prstGeom prst="rect">
                <a:avLst/>
              </a:prstGeom>
            </p:spPr>
          </p:pic>
          <p:sp>
            <p:nvSpPr>
              <p:cNvPr id="308" name="TextBox 307">
                <a:extLst>
                  <a:ext uri="{FF2B5EF4-FFF2-40B4-BE49-F238E27FC236}">
                    <a16:creationId xmlns:a16="http://schemas.microsoft.com/office/drawing/2014/main" id="{48C43FB7-FC0C-4E8A-BB6A-7CF1C72E2308}"/>
                  </a:ext>
                </a:extLst>
              </p:cNvPr>
              <p:cNvSpPr txBox="1"/>
              <p:nvPr/>
            </p:nvSpPr>
            <p:spPr>
              <a:xfrm>
                <a:off x="4603651" y="3425265"/>
                <a:ext cx="640080" cy="31558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6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Hub Device Provisioning Servic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28E9D80-D694-4540-8A5A-3C80D899A0FC}"/>
                </a:ext>
              </a:extLst>
            </p:cNvPr>
            <p:cNvGrpSpPr/>
            <p:nvPr/>
          </p:nvGrpSpPr>
          <p:grpSpPr>
            <a:xfrm>
              <a:off x="5630726" y="3168755"/>
              <a:ext cx="425947" cy="475140"/>
              <a:chOff x="5827149" y="3168755"/>
              <a:chExt cx="425947" cy="475140"/>
            </a:xfrm>
          </p:grpSpPr>
          <p:pic>
            <p:nvPicPr>
              <p:cNvPr id="305" name="Picture 304">
                <a:extLst>
                  <a:ext uri="{FF2B5EF4-FFF2-40B4-BE49-F238E27FC236}">
                    <a16:creationId xmlns:a16="http://schemas.microsoft.com/office/drawing/2014/main" id="{88D7FF9B-799B-430E-B9C0-BA186B1F6F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9"/>
              <a:stretch>
                <a:fillRect/>
              </a:stretch>
            </p:blipFill>
            <p:spPr>
              <a:xfrm>
                <a:off x="5962398" y="3168755"/>
                <a:ext cx="155448" cy="199291"/>
              </a:xfrm>
              <a:prstGeom prst="rect">
                <a:avLst/>
              </a:prstGeom>
            </p:spPr>
          </p:pic>
          <p:sp>
            <p:nvSpPr>
              <p:cNvPr id="306" name="TextBox 305">
                <a:extLst>
                  <a:ext uri="{FF2B5EF4-FFF2-40B4-BE49-F238E27FC236}">
                    <a16:creationId xmlns:a16="http://schemas.microsoft.com/office/drawing/2014/main" id="{A87C1697-455C-41C2-9C18-F582EF4F9343}"/>
                  </a:ext>
                </a:extLst>
              </p:cNvPr>
              <p:cNvSpPr txBox="1"/>
              <p:nvPr/>
            </p:nvSpPr>
            <p:spPr>
              <a:xfrm>
                <a:off x="5827149" y="3425265"/>
                <a:ext cx="425947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3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Map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A1D19D0-9908-4417-9719-2DF453A81E3F}"/>
                </a:ext>
              </a:extLst>
            </p:cNvPr>
            <p:cNvGrpSpPr/>
            <p:nvPr/>
          </p:nvGrpSpPr>
          <p:grpSpPr>
            <a:xfrm>
              <a:off x="6012147" y="3177437"/>
              <a:ext cx="537010" cy="369509"/>
              <a:chOff x="6276300" y="3177437"/>
              <a:chExt cx="537010" cy="369509"/>
            </a:xfrm>
          </p:grpSpPr>
          <p:pic>
            <p:nvPicPr>
              <p:cNvPr id="303" name="Picture 302">
                <a:extLst>
                  <a:ext uri="{FF2B5EF4-FFF2-40B4-BE49-F238E27FC236}">
                    <a16:creationId xmlns:a16="http://schemas.microsoft.com/office/drawing/2014/main" id="{80E1DEB4-5A02-405A-BDC5-064BD42D10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0"/>
              <a:stretch>
                <a:fillRect/>
              </a:stretch>
            </p:blipFill>
            <p:spPr>
              <a:xfrm>
                <a:off x="6443777" y="3177437"/>
                <a:ext cx="202056" cy="202055"/>
              </a:xfrm>
              <a:prstGeom prst="rect">
                <a:avLst/>
              </a:prstGeom>
            </p:spPr>
          </p:pic>
          <p:sp>
            <p:nvSpPr>
              <p:cNvPr id="304" name="TextBox 303">
                <a:extLst>
                  <a:ext uri="{FF2B5EF4-FFF2-40B4-BE49-F238E27FC236}">
                    <a16:creationId xmlns:a16="http://schemas.microsoft.com/office/drawing/2014/main" id="{3B7B11C6-547E-404E-A467-C34249E27C7A}"/>
                  </a:ext>
                </a:extLst>
              </p:cNvPr>
              <p:cNvSpPr txBox="1"/>
              <p:nvPr/>
            </p:nvSpPr>
            <p:spPr>
              <a:xfrm>
                <a:off x="6276300" y="3425265"/>
                <a:ext cx="537010" cy="121681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71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Function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F166C91-B7C5-4A98-88C1-97F38AC4AA4F}"/>
                </a:ext>
              </a:extLst>
            </p:cNvPr>
            <p:cNvGrpSpPr/>
            <p:nvPr/>
          </p:nvGrpSpPr>
          <p:grpSpPr>
            <a:xfrm>
              <a:off x="6928166" y="3185505"/>
              <a:ext cx="501760" cy="458390"/>
              <a:chOff x="7212638" y="3185505"/>
              <a:chExt cx="501760" cy="458390"/>
            </a:xfrm>
          </p:grpSpPr>
          <p:pic>
            <p:nvPicPr>
              <p:cNvPr id="301" name="Picture 300">
                <a:extLst>
                  <a:ext uri="{FF2B5EF4-FFF2-40B4-BE49-F238E27FC236}">
                    <a16:creationId xmlns:a16="http://schemas.microsoft.com/office/drawing/2014/main" id="{1D2C2BB2-AFE9-4951-8AAD-9E12FEF7F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2"/>
              <a:stretch>
                <a:fillRect/>
              </a:stretch>
            </p:blipFill>
            <p:spPr>
              <a:xfrm>
                <a:off x="7372205" y="3185505"/>
                <a:ext cx="182626" cy="182626"/>
              </a:xfrm>
              <a:prstGeom prst="rect">
                <a:avLst/>
              </a:prstGeom>
            </p:spPr>
          </p:pic>
          <p:sp>
            <p:nvSpPr>
              <p:cNvPr id="302" name="TextBox 301">
                <a:extLst>
                  <a:ext uri="{FF2B5EF4-FFF2-40B4-BE49-F238E27FC236}">
                    <a16:creationId xmlns:a16="http://schemas.microsoft.com/office/drawing/2014/main" id="{0106F092-9090-451D-882C-BC3922734E9A}"/>
                  </a:ext>
                </a:extLst>
              </p:cNvPr>
              <p:cNvSpPr txBox="1"/>
              <p:nvPr/>
            </p:nvSpPr>
            <p:spPr>
              <a:xfrm>
                <a:off x="7212638" y="3425265"/>
                <a:ext cx="50176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7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chine Learning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F0AABAC-7B19-48E5-ACFE-D6C2527F8EF9}"/>
                </a:ext>
              </a:extLst>
            </p:cNvPr>
            <p:cNvGrpSpPr/>
            <p:nvPr/>
          </p:nvGrpSpPr>
          <p:grpSpPr>
            <a:xfrm>
              <a:off x="8503058" y="3157225"/>
              <a:ext cx="520098" cy="486670"/>
              <a:chOff x="8787530" y="3157225"/>
              <a:chExt cx="520098" cy="486670"/>
            </a:xfrm>
          </p:grpSpPr>
          <p:pic>
            <p:nvPicPr>
              <p:cNvPr id="296" name="Picture 295">
                <a:extLst>
                  <a:ext uri="{FF2B5EF4-FFF2-40B4-BE49-F238E27FC236}">
                    <a16:creationId xmlns:a16="http://schemas.microsoft.com/office/drawing/2014/main" id="{41C59024-4FE7-4DBB-BEF5-6D80787C36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4"/>
              <a:stretch>
                <a:fillRect/>
              </a:stretch>
            </p:blipFill>
            <p:spPr>
              <a:xfrm>
                <a:off x="8904961" y="3157225"/>
                <a:ext cx="285237" cy="222349"/>
              </a:xfrm>
              <a:prstGeom prst="rect">
                <a:avLst/>
              </a:prstGeom>
            </p:spPr>
          </p:pic>
          <p:sp>
            <p:nvSpPr>
              <p:cNvPr id="295" name="TextBox 294">
                <a:extLst>
                  <a:ext uri="{FF2B5EF4-FFF2-40B4-BE49-F238E27FC236}">
                    <a16:creationId xmlns:a16="http://schemas.microsoft.com/office/drawing/2014/main" id="{04E37410-331D-47E9-A3CD-77E7C2CD750C}"/>
                  </a:ext>
                </a:extLst>
              </p:cNvPr>
              <p:cNvSpPr txBox="1"/>
              <p:nvPr/>
            </p:nvSpPr>
            <p:spPr>
              <a:xfrm>
                <a:off x="8787530" y="3425265"/>
                <a:ext cx="520098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75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tream Analytic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D3CBC9A-EC6A-4BB7-A06E-98A18DBDFDDA}"/>
                </a:ext>
              </a:extLst>
            </p:cNvPr>
            <p:cNvGrpSpPr/>
            <p:nvPr/>
          </p:nvGrpSpPr>
          <p:grpSpPr>
            <a:xfrm>
              <a:off x="9980264" y="3200333"/>
              <a:ext cx="625406" cy="443562"/>
              <a:chOff x="10264736" y="3200333"/>
              <a:chExt cx="625406" cy="443562"/>
            </a:xfrm>
          </p:grpSpPr>
          <p:pic>
            <p:nvPicPr>
              <p:cNvPr id="293" name="Picture 292">
                <a:extLst>
                  <a:ext uri="{FF2B5EF4-FFF2-40B4-BE49-F238E27FC236}">
                    <a16:creationId xmlns:a16="http://schemas.microsoft.com/office/drawing/2014/main" id="{A695D413-A3BC-4FFA-8ED8-C6BF11D4F4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0484650" y="3200333"/>
                <a:ext cx="185578" cy="185577"/>
              </a:xfrm>
              <a:prstGeom prst="rect">
                <a:avLst/>
              </a:prstGeom>
            </p:spPr>
          </p:pic>
          <p:sp>
            <p:nvSpPr>
              <p:cNvPr id="294" name="TextBox 293">
                <a:extLst>
                  <a:ext uri="{FF2B5EF4-FFF2-40B4-BE49-F238E27FC236}">
                    <a16:creationId xmlns:a16="http://schemas.microsoft.com/office/drawing/2014/main" id="{2A26F0F4-CE4B-4CF6-84FE-A04C17778BE8}"/>
                  </a:ext>
                </a:extLst>
              </p:cNvPr>
              <p:cNvSpPr txBox="1"/>
              <p:nvPr/>
            </p:nvSpPr>
            <p:spPr>
              <a:xfrm>
                <a:off x="10264736" y="3425265"/>
                <a:ext cx="625406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10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Notification Hub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3D32ED8-8FFE-4131-80B4-628DAEF62283}"/>
                </a:ext>
              </a:extLst>
            </p:cNvPr>
            <p:cNvGrpSpPr/>
            <p:nvPr/>
          </p:nvGrpSpPr>
          <p:grpSpPr>
            <a:xfrm>
              <a:off x="9499860" y="3167280"/>
              <a:ext cx="457200" cy="476615"/>
              <a:chOff x="9784332" y="3167280"/>
              <a:chExt cx="457200" cy="476615"/>
            </a:xfrm>
          </p:grpSpPr>
          <p:pic>
            <p:nvPicPr>
              <p:cNvPr id="292" name="Picture 291">
                <a:extLst>
                  <a:ext uri="{FF2B5EF4-FFF2-40B4-BE49-F238E27FC236}">
                    <a16:creationId xmlns:a16="http://schemas.microsoft.com/office/drawing/2014/main" id="{86390825-F33F-47CF-B510-DE1E07B51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6"/>
              <a:stretch>
                <a:fillRect/>
              </a:stretch>
            </p:blipFill>
            <p:spPr>
              <a:xfrm>
                <a:off x="9894111" y="3167280"/>
                <a:ext cx="237642" cy="218630"/>
              </a:xfrm>
              <a:prstGeom prst="rect">
                <a:avLst/>
              </a:prstGeom>
            </p:spPr>
          </p:pic>
          <p:sp>
            <p:nvSpPr>
              <p:cNvPr id="291" name="TextBox 290">
                <a:extLst>
                  <a:ext uri="{FF2B5EF4-FFF2-40B4-BE49-F238E27FC236}">
                    <a16:creationId xmlns:a16="http://schemas.microsoft.com/office/drawing/2014/main" id="{27A3953E-24FD-484B-A6FB-313E5C7142DC}"/>
                  </a:ext>
                </a:extLst>
              </p:cNvPr>
              <p:cNvSpPr txBox="1"/>
              <p:nvPr/>
            </p:nvSpPr>
            <p:spPr>
              <a:xfrm>
                <a:off x="9784332" y="3425265"/>
                <a:ext cx="45720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7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Cosmos DB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15F49D2-6843-44CD-8E60-C4BDE8F2DF5B}"/>
                </a:ext>
              </a:extLst>
            </p:cNvPr>
            <p:cNvGrpSpPr/>
            <p:nvPr/>
          </p:nvGrpSpPr>
          <p:grpSpPr>
            <a:xfrm>
              <a:off x="11200700" y="3164868"/>
              <a:ext cx="413142" cy="479027"/>
              <a:chOff x="11485172" y="3164868"/>
              <a:chExt cx="413142" cy="479027"/>
            </a:xfrm>
          </p:grpSpPr>
          <p:pic>
            <p:nvPicPr>
              <p:cNvPr id="287" name="Picture 286">
                <a:extLst>
                  <a:ext uri="{FF2B5EF4-FFF2-40B4-BE49-F238E27FC236}">
                    <a16:creationId xmlns:a16="http://schemas.microsoft.com/office/drawing/2014/main" id="{479B42C6-3229-406A-85C9-36F35E9C3C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8"/>
              <a:stretch>
                <a:fillRect/>
              </a:stretch>
            </p:blipFill>
            <p:spPr>
              <a:xfrm>
                <a:off x="11578427" y="3164868"/>
                <a:ext cx="226633" cy="226632"/>
              </a:xfrm>
              <a:prstGeom prst="rect">
                <a:avLst/>
              </a:prstGeom>
            </p:spPr>
          </p:pic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324587D0-0AB8-433B-A1E2-AB2F091EBC10}"/>
                  </a:ext>
                </a:extLst>
              </p:cNvPr>
              <p:cNvSpPr txBox="1"/>
              <p:nvPr/>
            </p:nvSpPr>
            <p:spPr>
              <a:xfrm>
                <a:off x="11485172" y="3425265"/>
                <a:ext cx="413142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" action="ppaction://noaction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</a:t>
                </a:r>
              </a:p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" action="ppaction://noaction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Sphere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</p:grp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CE436CD6-964B-4962-BEAB-2BA759D8AD56}"/>
                </a:ext>
              </a:extLst>
            </p:cNvPr>
            <p:cNvCxnSpPr>
              <a:cxnSpLocks/>
            </p:cNvCxnSpPr>
            <p:nvPr/>
          </p:nvCxnSpPr>
          <p:spPr>
            <a:xfrm>
              <a:off x="1882484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3A58EE92-9F17-463D-885C-7C55F397FEA9}"/>
                </a:ext>
              </a:extLst>
            </p:cNvPr>
            <p:cNvCxnSpPr>
              <a:cxnSpLocks/>
            </p:cNvCxnSpPr>
            <p:nvPr/>
          </p:nvCxnSpPr>
          <p:spPr>
            <a:xfrm>
              <a:off x="2362888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370BDB99-0EF2-4561-A012-042BEE37F0AD}"/>
                </a:ext>
              </a:extLst>
            </p:cNvPr>
            <p:cNvCxnSpPr>
              <a:cxnSpLocks/>
            </p:cNvCxnSpPr>
            <p:nvPr/>
          </p:nvCxnSpPr>
          <p:spPr>
            <a:xfrm>
              <a:off x="284329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>
              <a:extLst>
                <a:ext uri="{FF2B5EF4-FFF2-40B4-BE49-F238E27FC236}">
                  <a16:creationId xmlns:a16="http://schemas.microsoft.com/office/drawing/2014/main" id="{7068E794-C901-4916-8EAD-E68B82322BC2}"/>
                </a:ext>
              </a:extLst>
            </p:cNvPr>
            <p:cNvCxnSpPr>
              <a:cxnSpLocks/>
            </p:cNvCxnSpPr>
            <p:nvPr/>
          </p:nvCxnSpPr>
          <p:spPr>
            <a:xfrm>
              <a:off x="3323696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ADC0A9C4-CCC0-4A70-90F0-482ACB81C3A0}"/>
                </a:ext>
              </a:extLst>
            </p:cNvPr>
            <p:cNvCxnSpPr>
              <a:cxnSpLocks/>
            </p:cNvCxnSpPr>
            <p:nvPr/>
          </p:nvCxnSpPr>
          <p:spPr>
            <a:xfrm>
              <a:off x="3895540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>
              <a:extLst>
                <a:ext uri="{FF2B5EF4-FFF2-40B4-BE49-F238E27FC236}">
                  <a16:creationId xmlns:a16="http://schemas.microsoft.com/office/drawing/2014/main" id="{4137C76D-53B8-4920-AACE-887294C3BDEC}"/>
                </a:ext>
              </a:extLst>
            </p:cNvPr>
            <p:cNvCxnSpPr>
              <a:cxnSpLocks/>
            </p:cNvCxnSpPr>
            <p:nvPr/>
          </p:nvCxnSpPr>
          <p:spPr>
            <a:xfrm>
              <a:off x="4463358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7D96E053-9E27-48E0-9F4B-67D966BF2DD6}"/>
                </a:ext>
              </a:extLst>
            </p:cNvPr>
            <p:cNvCxnSpPr>
              <a:cxnSpLocks/>
            </p:cNvCxnSpPr>
            <p:nvPr/>
          </p:nvCxnSpPr>
          <p:spPr>
            <a:xfrm>
              <a:off x="5119871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>
              <a:extLst>
                <a:ext uri="{FF2B5EF4-FFF2-40B4-BE49-F238E27FC236}">
                  <a16:creationId xmlns:a16="http://schemas.microsoft.com/office/drawing/2014/main" id="{13629218-6814-4D15-82DA-94AF48AE6472}"/>
                </a:ext>
              </a:extLst>
            </p:cNvPr>
            <p:cNvCxnSpPr>
              <a:cxnSpLocks/>
            </p:cNvCxnSpPr>
            <p:nvPr/>
          </p:nvCxnSpPr>
          <p:spPr>
            <a:xfrm>
              <a:off x="565976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7C5D4FEA-B185-4402-A850-D65CE7E77251}"/>
                </a:ext>
              </a:extLst>
            </p:cNvPr>
            <p:cNvCxnSpPr>
              <a:cxnSpLocks/>
            </p:cNvCxnSpPr>
            <p:nvPr/>
          </p:nvCxnSpPr>
          <p:spPr>
            <a:xfrm>
              <a:off x="6014091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>
              <a:extLst>
                <a:ext uri="{FF2B5EF4-FFF2-40B4-BE49-F238E27FC236}">
                  <a16:creationId xmlns:a16="http://schemas.microsoft.com/office/drawing/2014/main" id="{4D911246-E77F-4C9A-B16E-07965E5D97BA}"/>
                </a:ext>
              </a:extLst>
            </p:cNvPr>
            <p:cNvCxnSpPr>
              <a:cxnSpLocks/>
            </p:cNvCxnSpPr>
            <p:nvPr/>
          </p:nvCxnSpPr>
          <p:spPr>
            <a:xfrm>
              <a:off x="6540440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1">
              <a:extLst>
                <a:ext uri="{FF2B5EF4-FFF2-40B4-BE49-F238E27FC236}">
                  <a16:creationId xmlns:a16="http://schemas.microsoft.com/office/drawing/2014/main" id="{3A90427F-11FC-48DB-AF9D-E17A8DC9CE7E}"/>
                </a:ext>
              </a:extLst>
            </p:cNvPr>
            <p:cNvCxnSpPr>
              <a:cxnSpLocks/>
            </p:cNvCxnSpPr>
            <p:nvPr/>
          </p:nvCxnSpPr>
          <p:spPr>
            <a:xfrm>
              <a:off x="6916564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72A288B6-BF51-422E-9ABA-621B8B625F03}"/>
                </a:ext>
              </a:extLst>
            </p:cNvPr>
            <p:cNvCxnSpPr>
              <a:cxnSpLocks/>
            </p:cNvCxnSpPr>
            <p:nvPr/>
          </p:nvCxnSpPr>
          <p:spPr>
            <a:xfrm>
              <a:off x="7441528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>
              <a:extLst>
                <a:ext uri="{FF2B5EF4-FFF2-40B4-BE49-F238E27FC236}">
                  <a16:creationId xmlns:a16="http://schemas.microsoft.com/office/drawing/2014/main" id="{36319B1A-5796-4F0A-95B2-F1AED01D6F8A}"/>
                </a:ext>
              </a:extLst>
            </p:cNvPr>
            <p:cNvCxnSpPr>
              <a:cxnSpLocks/>
            </p:cNvCxnSpPr>
            <p:nvPr/>
          </p:nvCxnSpPr>
          <p:spPr>
            <a:xfrm>
              <a:off x="796649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>
              <a:extLst>
                <a:ext uri="{FF2B5EF4-FFF2-40B4-BE49-F238E27FC236}">
                  <a16:creationId xmlns:a16="http://schemas.microsoft.com/office/drawing/2014/main" id="{13AE10D0-7276-45B3-A9CA-88984B5C52E4}"/>
                </a:ext>
              </a:extLst>
            </p:cNvPr>
            <p:cNvCxnSpPr>
              <a:cxnSpLocks/>
            </p:cNvCxnSpPr>
            <p:nvPr/>
          </p:nvCxnSpPr>
          <p:spPr>
            <a:xfrm>
              <a:off x="8491456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4CCDE76E-F05A-4580-A7D6-7F657C19591A}"/>
                </a:ext>
              </a:extLst>
            </p:cNvPr>
            <p:cNvCxnSpPr>
              <a:cxnSpLocks/>
            </p:cNvCxnSpPr>
            <p:nvPr/>
          </p:nvCxnSpPr>
          <p:spPr>
            <a:xfrm>
              <a:off x="9034758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D003CAE7-2BBA-4EFF-AB2C-5F24CDAF42B8}"/>
                </a:ext>
              </a:extLst>
            </p:cNvPr>
            <p:cNvCxnSpPr>
              <a:cxnSpLocks/>
            </p:cNvCxnSpPr>
            <p:nvPr/>
          </p:nvCxnSpPr>
          <p:spPr>
            <a:xfrm>
              <a:off x="9488258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9C1FFAE2-8F90-4B8B-85AB-7CCC3878200B}"/>
                </a:ext>
              </a:extLst>
            </p:cNvPr>
            <p:cNvCxnSpPr>
              <a:cxnSpLocks/>
            </p:cNvCxnSpPr>
            <p:nvPr/>
          </p:nvCxnSpPr>
          <p:spPr>
            <a:xfrm>
              <a:off x="996866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>
              <a:extLst>
                <a:ext uri="{FF2B5EF4-FFF2-40B4-BE49-F238E27FC236}">
                  <a16:creationId xmlns:a16="http://schemas.microsoft.com/office/drawing/2014/main" id="{1FD2685F-4048-48C4-AF9E-775CB30AAB1D}"/>
                </a:ext>
              </a:extLst>
            </p:cNvPr>
            <p:cNvCxnSpPr>
              <a:cxnSpLocks/>
            </p:cNvCxnSpPr>
            <p:nvPr/>
          </p:nvCxnSpPr>
          <p:spPr>
            <a:xfrm>
              <a:off x="1061727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>
              <a:extLst>
                <a:ext uri="{FF2B5EF4-FFF2-40B4-BE49-F238E27FC236}">
                  <a16:creationId xmlns:a16="http://schemas.microsoft.com/office/drawing/2014/main" id="{BDB89507-0ED1-4872-AA87-D393BC42B158}"/>
                </a:ext>
              </a:extLst>
            </p:cNvPr>
            <p:cNvCxnSpPr>
              <a:cxnSpLocks/>
            </p:cNvCxnSpPr>
            <p:nvPr/>
          </p:nvCxnSpPr>
          <p:spPr>
            <a:xfrm>
              <a:off x="11189116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4E4C4D0-7051-4421-9AE6-16600F8D0FFB}"/>
                </a:ext>
              </a:extLst>
            </p:cNvPr>
            <p:cNvGrpSpPr/>
            <p:nvPr/>
          </p:nvGrpSpPr>
          <p:grpSpPr>
            <a:xfrm>
              <a:off x="1413682" y="3190688"/>
              <a:ext cx="457200" cy="453207"/>
              <a:chOff x="1413682" y="3190688"/>
              <a:chExt cx="457200" cy="453207"/>
            </a:xfrm>
          </p:grpSpPr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97F8F606-D656-4D3E-8EAB-45DD131E066F}"/>
                  </a:ext>
                </a:extLst>
              </p:cNvPr>
              <p:cNvSpPr txBox="1"/>
              <p:nvPr/>
            </p:nvSpPr>
            <p:spPr>
              <a:xfrm>
                <a:off x="1413682" y="3425265"/>
                <a:ext cx="45720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7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zure IoT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1" name="Graphic 350">
                <a:extLst>
                  <a:ext uri="{FF2B5EF4-FFF2-40B4-BE49-F238E27FC236}">
                    <a16:creationId xmlns:a16="http://schemas.microsoft.com/office/drawing/2014/main" id="{861314B8-1332-480D-8D00-A2E11B1AEE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0">
                <a:extLst>
                  <a:ext uri="{96DAC541-7B7A-43D3-8B79-37D633B846F1}">
                    <asvg:svgBlip xmlns:asvg="http://schemas.microsoft.com/office/drawing/2016/SVG/main" r:embed="rId81"/>
                  </a:ext>
                </a:extLst>
              </a:blip>
              <a:stretch>
                <a:fillRect/>
              </a:stretch>
            </p:blipFill>
            <p:spPr>
              <a:xfrm>
                <a:off x="1553603" y="3190688"/>
                <a:ext cx="177358" cy="177358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3D2B7B2-43DC-4ED9-ABB8-50BE1C6E3A1E}"/>
                </a:ext>
              </a:extLst>
            </p:cNvPr>
            <p:cNvGrpSpPr/>
            <p:nvPr/>
          </p:nvGrpSpPr>
          <p:grpSpPr>
            <a:xfrm>
              <a:off x="1894086" y="3190688"/>
              <a:ext cx="457200" cy="356258"/>
              <a:chOff x="1894086" y="3190688"/>
              <a:chExt cx="457200" cy="356258"/>
            </a:xfrm>
          </p:grpSpPr>
          <p:sp>
            <p:nvSpPr>
              <p:cNvPr id="320" name="TextBox 319">
                <a:extLst>
                  <a:ext uri="{FF2B5EF4-FFF2-40B4-BE49-F238E27FC236}">
                    <a16:creationId xmlns:a16="http://schemas.microsoft.com/office/drawing/2014/main" id="{06FD0EF0-F32E-4503-B5CC-69B082D6B7A2}"/>
                  </a:ext>
                </a:extLst>
              </p:cNvPr>
              <p:cNvSpPr txBox="1"/>
              <p:nvPr/>
            </p:nvSpPr>
            <p:spPr>
              <a:xfrm>
                <a:off x="1894086" y="3425265"/>
                <a:ext cx="457200" cy="121681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Hub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2" name="Graphic 351">
                <a:extLst>
                  <a:ext uri="{FF2B5EF4-FFF2-40B4-BE49-F238E27FC236}">
                    <a16:creationId xmlns:a16="http://schemas.microsoft.com/office/drawing/2014/main" id="{CF8C17C4-197E-461F-AA99-09FFDA79D0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0">
                <a:extLst>
                  <a:ext uri="{96DAC541-7B7A-43D3-8B79-37D633B846F1}">
                    <asvg:svgBlip xmlns:asvg="http://schemas.microsoft.com/office/drawing/2016/SVG/main" r:embed="rId81"/>
                  </a:ext>
                </a:extLst>
              </a:blip>
              <a:stretch>
                <a:fillRect/>
              </a:stretch>
            </p:blipFill>
            <p:spPr>
              <a:xfrm>
                <a:off x="2034007" y="3190688"/>
                <a:ext cx="177358" cy="177358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7A8A2ED-DC02-4826-8999-8171DC17C231}"/>
                </a:ext>
              </a:extLst>
            </p:cNvPr>
            <p:cNvGrpSpPr/>
            <p:nvPr/>
          </p:nvGrpSpPr>
          <p:grpSpPr>
            <a:xfrm>
              <a:off x="5138245" y="3168755"/>
              <a:ext cx="537010" cy="475140"/>
              <a:chOff x="5266935" y="3168755"/>
              <a:chExt cx="537010" cy="475140"/>
            </a:xfrm>
          </p:grpSpPr>
          <p:sp>
            <p:nvSpPr>
              <p:cNvPr id="327" name="TextBox 326">
                <a:extLst>
                  <a:ext uri="{FF2B5EF4-FFF2-40B4-BE49-F238E27FC236}">
                    <a16:creationId xmlns:a16="http://schemas.microsoft.com/office/drawing/2014/main" id="{A83DED8B-DD64-4011-A077-D9DC5D137AB0}"/>
                  </a:ext>
                </a:extLst>
              </p:cNvPr>
              <p:cNvSpPr txBox="1"/>
              <p:nvPr/>
            </p:nvSpPr>
            <p:spPr>
              <a:xfrm>
                <a:off x="5266935" y="3425265"/>
                <a:ext cx="53701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Time Series Insight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3" name="Graphic 352">
                <a:extLst>
                  <a:ext uri="{FF2B5EF4-FFF2-40B4-BE49-F238E27FC236}">
                    <a16:creationId xmlns:a16="http://schemas.microsoft.com/office/drawing/2014/main" id="{92C1D800-364C-4B75-B25F-44C09A971B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4">
                <a:extLst>
                  <a:ext uri="{96DAC541-7B7A-43D3-8B79-37D633B846F1}">
                    <asvg:svgBlip xmlns:asvg="http://schemas.microsoft.com/office/drawing/2016/SVG/main" r:embed="rId85"/>
                  </a:ext>
                </a:extLst>
              </a:blip>
              <a:stretch>
                <a:fillRect/>
              </a:stretch>
            </p:blipFill>
            <p:spPr>
              <a:xfrm>
                <a:off x="5426784" y="3168755"/>
                <a:ext cx="217313" cy="217313"/>
              </a:xfrm>
              <a:prstGeom prst="rect">
                <a:avLst/>
              </a:prstGeom>
            </p:spPr>
          </p:pic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EF289C9-93AC-4024-8153-CBCE4D9AD9F0}"/>
                </a:ext>
              </a:extLst>
            </p:cNvPr>
            <p:cNvGrpSpPr/>
            <p:nvPr/>
          </p:nvGrpSpPr>
          <p:grpSpPr>
            <a:xfrm>
              <a:off x="7453130" y="3185505"/>
              <a:ext cx="501760" cy="555340"/>
              <a:chOff x="7737602" y="3185505"/>
              <a:chExt cx="501760" cy="555340"/>
            </a:xfrm>
          </p:grpSpPr>
          <p:sp>
            <p:nvSpPr>
              <p:cNvPr id="300" name="TextBox 299">
                <a:extLst>
                  <a:ext uri="{FF2B5EF4-FFF2-40B4-BE49-F238E27FC236}">
                    <a16:creationId xmlns:a16="http://schemas.microsoft.com/office/drawing/2014/main" id="{05F9AC0C-6CE4-4D8E-8B74-A9EBCF3E6507}"/>
                  </a:ext>
                </a:extLst>
              </p:cNvPr>
              <p:cNvSpPr txBox="1"/>
              <p:nvPr/>
            </p:nvSpPr>
            <p:spPr>
              <a:xfrm>
                <a:off x="7737602" y="3425265"/>
                <a:ext cx="501760" cy="31558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6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chine Learning Service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5" name="Picture 354">
                <a:extLst>
                  <a:ext uri="{FF2B5EF4-FFF2-40B4-BE49-F238E27FC236}">
                    <a16:creationId xmlns:a16="http://schemas.microsoft.com/office/drawing/2014/main" id="{27D63C50-8D1C-49B7-8B33-D6A91497B4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2"/>
              <a:stretch>
                <a:fillRect/>
              </a:stretch>
            </p:blipFill>
            <p:spPr>
              <a:xfrm>
                <a:off x="7897169" y="3185505"/>
                <a:ext cx="182626" cy="182626"/>
              </a:xfrm>
              <a:prstGeom prst="rect">
                <a:avLst/>
              </a:prstGeom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E1281A0-FE42-4FD4-B1F0-0C5DD9336BA6}"/>
                </a:ext>
              </a:extLst>
            </p:cNvPr>
            <p:cNvGrpSpPr/>
            <p:nvPr/>
          </p:nvGrpSpPr>
          <p:grpSpPr>
            <a:xfrm>
              <a:off x="7978094" y="3185505"/>
              <a:ext cx="501760" cy="555340"/>
              <a:chOff x="8262566" y="3185505"/>
              <a:chExt cx="501760" cy="555340"/>
            </a:xfrm>
          </p:grpSpPr>
          <p:sp>
            <p:nvSpPr>
              <p:cNvPr id="298" name="TextBox 297">
                <a:extLst>
                  <a:ext uri="{FF2B5EF4-FFF2-40B4-BE49-F238E27FC236}">
                    <a16:creationId xmlns:a16="http://schemas.microsoft.com/office/drawing/2014/main" id="{F3939585-40C6-4067-B973-C411D6977822}"/>
                  </a:ext>
                </a:extLst>
              </p:cNvPr>
              <p:cNvSpPr txBox="1"/>
              <p:nvPr/>
            </p:nvSpPr>
            <p:spPr>
              <a:xfrm>
                <a:off x="8262566" y="3425265"/>
                <a:ext cx="501760" cy="31558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chine Learning Studio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6" name="Picture 355">
                <a:extLst>
                  <a:ext uri="{FF2B5EF4-FFF2-40B4-BE49-F238E27FC236}">
                    <a16:creationId xmlns:a16="http://schemas.microsoft.com/office/drawing/2014/main" id="{E9738806-8A7A-497D-95D9-C7DFFAF896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2"/>
              <a:stretch>
                <a:fillRect/>
              </a:stretch>
            </p:blipFill>
            <p:spPr>
              <a:xfrm>
                <a:off x="8422133" y="3185505"/>
                <a:ext cx="182626" cy="182626"/>
              </a:xfrm>
              <a:prstGeom prst="rect">
                <a:avLst/>
              </a:prstGeom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6ACBEA08-CB8F-4E39-BBD7-60103669F20F}"/>
                </a:ext>
              </a:extLst>
            </p:cNvPr>
            <p:cNvGrpSpPr/>
            <p:nvPr/>
          </p:nvGrpSpPr>
          <p:grpSpPr>
            <a:xfrm>
              <a:off x="9046360" y="3136447"/>
              <a:ext cx="430296" cy="507448"/>
              <a:chOff x="9330832" y="3136447"/>
              <a:chExt cx="430296" cy="507448"/>
            </a:xfrm>
          </p:grpSpPr>
          <p:sp>
            <p:nvSpPr>
              <p:cNvPr id="322" name="TextBox 321">
                <a:extLst>
                  <a:ext uri="{FF2B5EF4-FFF2-40B4-BE49-F238E27FC236}">
                    <a16:creationId xmlns:a16="http://schemas.microsoft.com/office/drawing/2014/main" id="{EC1EAFE8-1381-46B7-B701-B192AB7AAC85}"/>
                  </a:ext>
                </a:extLst>
              </p:cNvPr>
              <p:cNvSpPr txBox="1"/>
              <p:nvPr/>
            </p:nvSpPr>
            <p:spPr>
              <a:xfrm>
                <a:off x="9330832" y="3425265"/>
                <a:ext cx="430296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Logic 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pps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7" name="Graphic 356" descr="Logic Apps">
                <a:extLst>
                  <a:ext uri="{FF2B5EF4-FFF2-40B4-BE49-F238E27FC236}">
                    <a16:creationId xmlns:a16="http://schemas.microsoft.com/office/drawing/2014/main" id="{F5742141-B373-4A68-940B-8CF23209A0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1"/>
                  </a:ext>
                </a:extLst>
              </a:blip>
              <a:stretch>
                <a:fillRect/>
              </a:stretch>
            </p:blipFill>
            <p:spPr>
              <a:xfrm>
                <a:off x="9406023" y="3136447"/>
                <a:ext cx="279914" cy="279914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EF3914-5C95-44B0-8C03-60D3E2453ECC}"/>
                </a:ext>
              </a:extLst>
            </p:cNvPr>
            <p:cNvGrpSpPr/>
            <p:nvPr/>
          </p:nvGrpSpPr>
          <p:grpSpPr>
            <a:xfrm>
              <a:off x="10628874" y="3153552"/>
              <a:ext cx="548640" cy="490343"/>
              <a:chOff x="10913346" y="3153552"/>
              <a:chExt cx="548640" cy="490343"/>
            </a:xfrm>
          </p:grpSpPr>
          <p:sp>
            <p:nvSpPr>
              <p:cNvPr id="290" name="TextBox 289">
                <a:extLst>
                  <a:ext uri="{FF2B5EF4-FFF2-40B4-BE49-F238E27FC236}">
                    <a16:creationId xmlns:a16="http://schemas.microsoft.com/office/drawing/2014/main" id="{E1F98283-D8AC-466F-820C-890888AF4786}"/>
                  </a:ext>
                </a:extLst>
              </p:cNvPr>
              <p:cNvSpPr txBox="1"/>
              <p:nvPr/>
            </p:nvSpPr>
            <p:spPr>
              <a:xfrm>
                <a:off x="10913346" y="3425265"/>
                <a:ext cx="54864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API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8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Management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58" name="Graphic 357">
                <a:extLst>
                  <a:ext uri="{FF2B5EF4-FFF2-40B4-BE49-F238E27FC236}">
                    <a16:creationId xmlns:a16="http://schemas.microsoft.com/office/drawing/2014/main" id="{23A853C6-CECC-4643-995C-AF8008B77B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1071487" y="3153552"/>
                <a:ext cx="232358" cy="232358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9271ECF-49C1-403C-81E1-5A1B0BFACC61}"/>
                </a:ext>
              </a:extLst>
            </p:cNvPr>
            <p:cNvGrpSpPr/>
            <p:nvPr/>
          </p:nvGrpSpPr>
          <p:grpSpPr>
            <a:xfrm>
              <a:off x="6552042" y="3185505"/>
              <a:ext cx="352920" cy="458390"/>
              <a:chOff x="6836514" y="3185505"/>
              <a:chExt cx="352920" cy="458390"/>
            </a:xfrm>
          </p:grpSpPr>
          <p:sp>
            <p:nvSpPr>
              <p:cNvPr id="325" name="TextBox 324">
                <a:extLst>
                  <a:ext uri="{FF2B5EF4-FFF2-40B4-BE49-F238E27FC236}">
                    <a16:creationId xmlns:a16="http://schemas.microsoft.com/office/drawing/2014/main" id="{1391DF39-E9B2-4E49-81C7-3918E3F8CC5F}"/>
                  </a:ext>
                </a:extLst>
              </p:cNvPr>
              <p:cNvSpPr txBox="1"/>
              <p:nvPr/>
            </p:nvSpPr>
            <p:spPr>
              <a:xfrm>
                <a:off x="6836514" y="3425265"/>
                <a:ext cx="352920" cy="218630"/>
              </a:xfrm>
              <a:prstGeom prst="rect">
                <a:avLst/>
              </a:prstGeom>
              <a:noFill/>
            </p:spPr>
            <p:txBody>
              <a:bodyPr wrap="square" lIns="12246" tIns="12246" rIns="12246" bIns="12246" rtlCol="0">
                <a:noAutofit/>
              </a:bodyPr>
              <a:lstStyle/>
              <a:p>
                <a:pPr marL="0" marR="0" lvl="0" indent="0" algn="ctr" defTabSz="24497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Event </a:t>
                </a:r>
                <a:b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</a:b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+mn-cs"/>
                    <a:hlinkClick r:id="rId4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Grid</a:t>
                </a:r>
                <a:endPara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396" name="Picture 395">
                <a:extLst>
                  <a:ext uri="{FF2B5EF4-FFF2-40B4-BE49-F238E27FC236}">
                    <a16:creationId xmlns:a16="http://schemas.microsoft.com/office/drawing/2014/main" id="{98583994-8B68-410E-AB99-179EEF24AC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6921534" y="3185505"/>
                <a:ext cx="182880" cy="182880"/>
              </a:xfrm>
              <a:prstGeom prst="rect">
                <a:avLst/>
              </a:prstGeom>
            </p:spPr>
          </p:pic>
        </p:grp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DF5A7E7A-6EBD-465A-BDAD-A935B29B6E84}"/>
                </a:ext>
              </a:extLst>
            </p:cNvPr>
            <p:cNvGrpSpPr/>
            <p:nvPr/>
          </p:nvGrpSpPr>
          <p:grpSpPr>
            <a:xfrm>
              <a:off x="11709204" y="3185570"/>
              <a:ext cx="261325" cy="540195"/>
              <a:chOff x="11776298" y="5276185"/>
              <a:chExt cx="261325" cy="540195"/>
            </a:xfrm>
          </p:grpSpPr>
          <p:pic>
            <p:nvPicPr>
              <p:cNvPr id="209" name="Picture 208">
                <a:extLst>
                  <a:ext uri="{FF2B5EF4-FFF2-40B4-BE49-F238E27FC236}">
                    <a16:creationId xmlns:a16="http://schemas.microsoft.com/office/drawing/2014/main" id="{7CD06290-C8E6-425C-A0A3-F0998F5C74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8"/>
              <a:stretch>
                <a:fillRect/>
              </a:stretch>
            </p:blipFill>
            <p:spPr>
              <a:xfrm>
                <a:off x="11797232" y="5276185"/>
                <a:ext cx="228600" cy="158019"/>
              </a:xfrm>
              <a:prstGeom prst="rect">
                <a:avLst/>
              </a:prstGeom>
            </p:spPr>
          </p:pic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F781495A-ECD9-4917-84F8-9DD769972456}"/>
                  </a:ext>
                </a:extLst>
              </p:cNvPr>
              <p:cNvSpPr txBox="1"/>
              <p:nvPr/>
            </p:nvSpPr>
            <p:spPr>
              <a:xfrm>
                <a:off x="11776298" y="5525531"/>
                <a:ext cx="261325" cy="2908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244977">
                  <a:lnSpc>
                    <a:spcPct val="90000"/>
                  </a:lnSpc>
                  <a:defRPr/>
                </a:pPr>
                <a:r>
                  <a:rPr lang="en-US" sz="700">
                    <a:solidFill>
                      <a:srgbClr val="000000"/>
                    </a:solidFill>
                    <a:latin typeface="Segoe UI" panose="020B0502040204020203" pitchFamily="34" charset="0"/>
                    <a:hlinkClick r:id="rId89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IoT Plug &amp; Play</a:t>
                </a:r>
                <a:endParaRPr lang="en-US" sz="700">
                  <a:solidFill>
                    <a:srgbClr val="000000"/>
                  </a:solidFill>
                  <a:latin typeface="Segoe UI" panose="020B0502040204020203" pitchFamily="34" charset="0"/>
                </a:endParaRPr>
              </a:p>
            </p:txBody>
          </p:sp>
        </p:grp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D72B0ACE-4258-4463-8CE3-0ED67222E27E}"/>
                </a:ext>
              </a:extLst>
            </p:cNvPr>
            <p:cNvCxnSpPr>
              <a:cxnSpLocks/>
            </p:cNvCxnSpPr>
            <p:nvPr/>
          </p:nvCxnSpPr>
          <p:spPr>
            <a:xfrm>
              <a:off x="11613842" y="3108651"/>
              <a:ext cx="0" cy="655389"/>
            </a:xfrm>
            <a:prstGeom prst="line">
              <a:avLst/>
            </a:prstGeom>
            <a:ln w="6350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8544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16sQukYLfJv8iPg8yC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-51052_Microsoft_Ready_Template_Light">
  <a:themeElements>
    <a:clrScheme name="Inspire + Ready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9BF00B"/>
      </a:accent4>
      <a:accent5>
        <a:srgbClr val="8661C5"/>
      </a:accent5>
      <a:accent6>
        <a:srgbClr val="737373"/>
      </a:accent6>
      <a:hlink>
        <a:srgbClr val="0078D4"/>
      </a:hlink>
      <a:folHlink>
        <a:srgbClr val="0078D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16x9_Template.potx" id="{7A738DDF-EF2E-41FA-9228-B2E944E70D9C}" vid="{C5A588B5-CA04-40F0-8170-DE3B1CFBB902}"/>
    </a:ext>
  </a:extLst>
</a:theme>
</file>

<file path=ppt/theme/theme2.xml><?xml version="1.0" encoding="utf-8"?>
<a:theme xmlns:a="http://schemas.openxmlformats.org/drawingml/2006/main" name="1_9-51052_Microsoft_Ready_Template_Light">
  <a:themeElements>
    <a:clrScheme name="Inspire + Ready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9BF00B"/>
      </a:accent4>
      <a:accent5>
        <a:srgbClr val="8661C5"/>
      </a:accent5>
      <a:accent6>
        <a:srgbClr val="737373"/>
      </a:accent6>
      <a:hlink>
        <a:srgbClr val="0078D4"/>
      </a:hlink>
      <a:folHlink>
        <a:srgbClr val="0078D4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Ready_Breakout_16x9_Template.potx" id="{7A738DDF-EF2E-41FA-9228-B2E944E70D9C}" vid="{C5A588B5-CA04-40F0-8170-DE3B1CFBB9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f0caf83c-1a5d-4883-804d-6cabe008ea3f" xsi:nil="true"/>
    <SharedWithUsers xmlns="74a5df54-6076-4c75-b183-ccf945a516ff">
      <UserInfo>
        <DisplayName>Shrishail Pathani</DisplayName>
        <AccountId>119</AccountId>
        <AccountType/>
      </UserInfo>
      <UserInfo>
        <DisplayName>Mark Kottke</DisplayName>
        <AccountId>122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7BBFAE2ED5B041ADB84069D2D51F07" ma:contentTypeVersion="17" ma:contentTypeDescription="Create a new document." ma:contentTypeScope="" ma:versionID="26ad014f73e444941f7336e427cd144c">
  <xsd:schema xmlns:xsd="http://www.w3.org/2001/XMLSchema" xmlns:xs="http://www.w3.org/2001/XMLSchema" xmlns:p="http://schemas.microsoft.com/office/2006/metadata/properties" xmlns:ns1="http://schemas.microsoft.com/sharepoint/v3" xmlns:ns3="74a5df54-6076-4c75-b183-ccf945a516ff" xmlns:ns4="f0caf83c-1a5d-4883-804d-6cabe008ea3f" targetNamespace="http://schemas.microsoft.com/office/2006/metadata/properties" ma:root="true" ma:fieldsID="4dd76dd660a88dd13b5e637ab622823e" ns1:_="" ns3:_="" ns4:_="">
    <xsd:import namespace="http://schemas.microsoft.com/sharepoint/v3"/>
    <xsd:import namespace="74a5df54-6076-4c75-b183-ccf945a516ff"/>
    <xsd:import namespace="f0caf83c-1a5d-4883-804d-6cabe008ea3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3:LastSharedByUser" minOccurs="0"/>
                <xsd:element ref="ns3:LastSharedByTime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a5df54-6076-4c75-b183-ccf945a516f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4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5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caf83c-1a5d-4883-804d-6cabe008ea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504818-7478-42FE-BA50-BF369A16B3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28D9C6-563E-4C81-B6B4-E70FE915176D}">
  <ds:schemaRefs>
    <ds:schemaRef ds:uri="http://schemas.microsoft.com/office/2006/metadata/properties"/>
    <ds:schemaRef ds:uri="http://schemas.microsoft.com/sharepoint/v3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0caf83c-1a5d-4883-804d-6cabe008ea3f"/>
    <ds:schemaRef ds:uri="74a5df54-6076-4c75-b183-ccf945a516ff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78383E2-10C7-417B-A115-15DB1F91ED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4a5df54-6076-4c75-b183-ccf945a516ff"/>
    <ds:schemaRef ds:uri="f0caf83c-1a5d-4883-804d-6cabe008ea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3</TotalTime>
  <Words>1736</Words>
  <Application>Microsoft Office PowerPoint</Application>
  <PresentationFormat>Widescreen</PresentationFormat>
  <Paragraphs>76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Segoe UI</vt:lpstr>
      <vt:lpstr>Segoe UI Semibold</vt:lpstr>
      <vt:lpstr>Wingdings</vt:lpstr>
      <vt:lpstr>9-51052_Microsoft_Ready_Template_Light</vt:lpstr>
      <vt:lpstr>1_9-51052_Microsoft_Ready_Template_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 want to see all of Azure…</dc:title>
  <dc:creator>Pradyumna Harish</dc:creator>
  <cp:lastModifiedBy>Pradyumna Harish</cp:lastModifiedBy>
  <cp:revision>2</cp:revision>
  <dcterms:created xsi:type="dcterms:W3CDTF">2019-11-22T21:27:58Z</dcterms:created>
  <dcterms:modified xsi:type="dcterms:W3CDTF">2020-06-02T14:1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pradyh@microsoft.com</vt:lpwstr>
  </property>
  <property fmtid="{D5CDD505-2E9C-101B-9397-08002B2CF9AE}" pid="5" name="MSIP_Label_f42aa342-8706-4288-bd11-ebb85995028c_SetDate">
    <vt:lpwstr>2019-11-22T21:28:40.233806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9210b01c-451d-4da7-8ca5-c609ed4f5b57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0C7BBFAE2ED5B041ADB84069D2D51F07</vt:lpwstr>
  </property>
</Properties>
</file>